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55" r:id="rId5"/>
  </p:sldMasterIdLst>
  <p:notesMasterIdLst>
    <p:notesMasterId r:id="rId16"/>
  </p:notesMasterIdLst>
  <p:sldIdLst>
    <p:sldId id="2147469791" r:id="rId6"/>
    <p:sldId id="2147469832" r:id="rId7"/>
    <p:sldId id="2147469833" r:id="rId8"/>
    <p:sldId id="2147469803" r:id="rId9"/>
    <p:sldId id="2147469805" r:id="rId10"/>
    <p:sldId id="2147469808" r:id="rId11"/>
    <p:sldId id="2147469834" r:id="rId12"/>
    <p:sldId id="2147469836" r:id="rId13"/>
    <p:sldId id="2147469835" r:id="rId14"/>
    <p:sldId id="2147469818" r:id="rId15"/>
  </p:sldIdLst>
  <p:sldSz cx="12192000" cy="6858000"/>
  <p:notesSz cx="6735763" cy="9866313"/>
  <p:embeddedFontLst>
    <p:embeddedFont>
      <p:font typeface="Manrope" pitchFamily="2" charset="0"/>
      <p:regular r:id="rId17"/>
      <p:bold r:id="rId18"/>
    </p:embeddedFont>
    <p:embeddedFont>
      <p:font typeface="Manrope ExtraBold" pitchFamily="2" charset="0"/>
      <p:bold r:id="rId19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C6E491C-933D-1A5D-D3E0-7FAE78AFA0CC}" name="Antoine Ebel" initials="AE" userId="S::antoine.ebel@acf-fgv.ch::82993521-4409-4dbf-8b7f-e90716302930" providerId="AD"/>
  <p188:author id="{472C1569-BA51-AC56-45C6-BB6598F81455}" name="Chassot Christophe" initials="CC" userId="S::Christophe.Chassot@fr.ch::99d3f947-4e56-4dfc-9c69-4e989ba93b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E5E9EF"/>
    <a:srgbClr val="97A5AF"/>
    <a:srgbClr val="222A35"/>
    <a:srgbClr val="8A0000"/>
    <a:srgbClr val="365422"/>
    <a:srgbClr val="009FD6"/>
    <a:srgbClr val="D9D9D9"/>
    <a:srgbClr val="2F383D"/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AD50FF-0430-4BCE-B3D2-7AF5251D851D}" v="2" dt="2026-05-04T06:43:30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Style moye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01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1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13050E-7492-43F9-8F18-0EE228452116}" type="datetimeFigureOut">
              <a:rPr lang="fr-CH" smtClean="0"/>
              <a:t>11.05.2026</a:t>
            </a:fld>
            <a:endParaRPr lang="fr-CH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C6D646-562F-43E2-8474-7007F355A42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59964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6D646-562F-43E2-8474-7007F355A420}" type="slidenum">
              <a:rPr lang="fr-CH" smtClean="0"/>
              <a:t>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918458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A18E4-6805-4E44-028A-D07815CBA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93313F0-2F50-AA5F-27F8-E5821C11FF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A6112B1-FD32-558B-BACE-574F7C3AF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19B713B-7CE6-4A77-58AF-AEF74A82BC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2931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AED460-E16F-317E-5A05-227589654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98BF60E-7103-15C9-9D76-7B8EEE6CD2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4172E84-9E00-E954-63CD-C630EE88BC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FE66EAE-6EDD-1C77-E13E-BA055C65B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766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1134-F373-8B8F-F14D-9C1F9B9C9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2F7BE27-7D8E-F3DD-26DC-2F14A319D3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5376AD1-CFAF-739E-4561-10A95EDA22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8B85114-E93E-B92C-C021-7F852B0A9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6018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4D78C-C93A-5243-0361-52F436EF26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D80CD15-2F08-C88A-2C8A-6C5A2C7FAA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B178BD9-814C-AA16-4CE6-A58A12093C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F71D57E-1A3A-6F05-7907-F3EA00EB1F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393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B15E2-3F03-616D-21E0-DE5740FAA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858E7F7-E19F-BCBC-2C5B-409C672FE2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56CC99E-6374-CCB0-9BAC-9001105A5E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DAA218-EBB9-A3FE-06C0-D01D1BA638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220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6F614-FBFB-CA1A-A7E4-B8EC7F35F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22F2315-FAF1-1828-333E-1B71EFF7C7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E65ED37-135F-DE90-7F76-DD553164A3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CFFFDA7-CC71-828C-BA99-7340F99F2C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063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C430A-EDFB-8652-63EF-D516DB17F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D88E134A-561F-AC15-AA7D-A81C7CB11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E874A14-5BC0-83F8-06E0-EE879E073F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50C5DA0-3249-0479-8704-9AB88E8314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384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5F9F69-621C-B8A2-9294-742ED9682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57F6D35E-61E6-D0B2-6AB3-0F16A2D5C0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DEFEA27-A995-4B79-AA7D-EE530525CC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7CC1165-82C3-32BE-4001-C0DEEFD3BF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62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1D64C-AB10-9154-DD16-5D62BA8BE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30A68B49-5B30-98A3-DC89-EA7C8BE5A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3882D23-7E61-403A-556B-9FD8204BCC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808A1F9-505A-ECCB-5615-6B5802D6DB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D646-562F-43E2-8474-7007F355A420}" type="slidenum">
              <a:rPr kumimoji="0" lang="fr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681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88B9F2-9331-7BA7-39CC-18111EAE06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39002" y="6354596"/>
            <a:ext cx="1153715" cy="40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29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mér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>
            <a:extLst>
              <a:ext uri="{FF2B5EF4-FFF2-40B4-BE49-F238E27FC236}">
                <a16:creationId xmlns:a16="http://schemas.microsoft.com/office/drawing/2014/main" id="{F7D7E56F-595E-BBB2-EC78-91C89B79A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50098"/>
            <a:ext cx="11227599" cy="691866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5EB5ADFC-C3EF-144D-B988-E3B29E2A3D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32" y="1556406"/>
            <a:ext cx="11227598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00DCEF3-C56F-F690-2D3A-9B0D25FB7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39002" y="6354596"/>
            <a:ext cx="1153715" cy="40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84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ér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Police, Graphique, noir, logo&#10;&#10;Description générée automatiquement">
            <a:extLst>
              <a:ext uri="{FF2B5EF4-FFF2-40B4-BE49-F238E27FC236}">
                <a16:creationId xmlns:a16="http://schemas.microsoft.com/office/drawing/2014/main" id="{CA6EE14D-8919-F3BD-8E46-637F497F4D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145" y="6044587"/>
            <a:ext cx="974045" cy="410002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B12D3D98-D1B0-652C-33C8-3F8BB85D01EF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56406"/>
            <a:ext cx="0" cy="432007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re 1">
            <a:extLst>
              <a:ext uri="{FF2B5EF4-FFF2-40B4-BE49-F238E27FC236}">
                <a16:creationId xmlns:a16="http://schemas.microsoft.com/office/drawing/2014/main" id="{F7D7E56F-595E-BBB2-EC78-91C89B79A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50098"/>
            <a:ext cx="11227599" cy="691866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5EB5ADFC-C3EF-144D-B988-E3B29E2A3D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32" y="1556406"/>
            <a:ext cx="4610227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1E6AF7F-FCB4-ACDB-85F8-F9D550703E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2640" y="1556405"/>
            <a:ext cx="4504102" cy="43200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1pPr>
            <a:lvl2pPr marL="8001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3pPr>
            <a:lvl4pPr marL="17145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4pPr>
            <a:lvl5pPr marL="2171700" indent="-342900">
              <a:buFont typeface="+mj-lt"/>
              <a:buAutoNum type="arabicPeriod"/>
              <a:defRPr sz="1800" b="0" i="0">
                <a:solidFill>
                  <a:srgbClr val="666666"/>
                </a:solidFill>
                <a:latin typeface="Manrope" pitchFamily="2" charset="0"/>
                <a:cs typeface="Readex Pro Deca Light" pitchFamily="2" charset="-78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7877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AB248B7C-B108-4772-AC6D-87AE50501B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316" y="1022685"/>
            <a:ext cx="526181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3" name="Titre 4">
            <a:extLst>
              <a:ext uri="{FF2B5EF4-FFF2-40B4-BE49-F238E27FC236}">
                <a16:creationId xmlns:a16="http://schemas.microsoft.com/office/drawing/2014/main" id="{49C966CA-AAF8-0340-A718-6947CECA2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15" y="367084"/>
            <a:ext cx="10515600" cy="390904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0CAC814D-269A-DB60-C30F-320E6AEF9C3B}"/>
              </a:ext>
            </a:extLst>
          </p:cNvPr>
          <p:cNvCxnSpPr>
            <a:cxnSpLocks/>
          </p:cNvCxnSpPr>
          <p:nvPr userDrawn="1"/>
        </p:nvCxnSpPr>
        <p:spPr>
          <a:xfrm>
            <a:off x="705853" y="813224"/>
            <a:ext cx="567906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B1B09E6-8C40-7CFA-FCCE-BFBF8CEDF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1022684"/>
            <a:ext cx="526181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60794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16CDD466-9743-0905-8BB4-EB0800C7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78" y="5211091"/>
            <a:ext cx="10515600" cy="1118589"/>
          </a:xfrm>
          <a:prstGeom prst="rect">
            <a:avLst/>
          </a:prstGeom>
        </p:spPr>
        <p:txBody>
          <a:bodyPr anchor="b"/>
          <a:lstStyle>
            <a:lvl1pPr>
              <a:defRPr sz="2400" b="1" i="0">
                <a:solidFill>
                  <a:schemeClr val="tx1"/>
                </a:solidFill>
                <a:latin typeface="Manrope" pitchFamily="2" charset="0"/>
                <a:cs typeface="Readex Pro Deca Medium" pitchFamily="2" charset="-78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7FBF816C-A25E-A7A8-2130-F445A3D2E22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160" y="-10655"/>
            <a:ext cx="12192000" cy="531336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549DCF55-A1D7-D1CE-32EE-1B3A19BC499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6077" y="426365"/>
            <a:ext cx="2888983" cy="1027861"/>
          </a:xfrm>
          <a:prstGeom prst="rect">
            <a:avLst/>
          </a:prstGeom>
        </p:spPr>
        <p:txBody>
          <a:bodyPr/>
          <a:lstStyle/>
          <a:p>
            <a:r>
              <a:rPr lang="fr-FR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709676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0E0F11-BD70-A95A-481F-CCDEA052D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F328BC-DCF2-481B-BACC-1EB6A08386A8}" type="datetimeFigureOut">
              <a:rPr lang="fr-CH" smtClean="0"/>
              <a:pPr/>
              <a:t>11.05.2026</a:t>
            </a:fld>
            <a:r>
              <a:rPr lang="fr-CH"/>
              <a:t>	Programme DIGI-FR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16CDD466-9743-0905-8BB4-EB0800C7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64" y="2582084"/>
            <a:ext cx="10515600" cy="1118589"/>
          </a:xfrm>
          <a:prstGeom prst="rect">
            <a:avLst/>
          </a:prstGeom>
        </p:spPr>
        <p:txBody>
          <a:bodyPr anchor="b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21245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93D7D2E-3F13-8681-BD4F-25835DEE1B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316" y="1022685"/>
            <a:ext cx="10515600" cy="5022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A058D30-1200-7E16-7AFC-2A4C7EC67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15" y="367084"/>
            <a:ext cx="10515600" cy="390904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8A701D4-4579-8A61-0DD8-9E01E2E606F5}"/>
              </a:ext>
            </a:extLst>
          </p:cNvPr>
          <p:cNvCxnSpPr>
            <a:cxnSpLocks/>
          </p:cNvCxnSpPr>
          <p:nvPr userDrawn="1"/>
        </p:nvCxnSpPr>
        <p:spPr>
          <a:xfrm>
            <a:off x="705853" y="813224"/>
            <a:ext cx="567906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842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image" Target="../media/image3.jpeg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04A64D-6642-4E1F-89B7-7E807AFCF9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62" y="1120774"/>
            <a:ext cx="11295061" cy="4956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CH"/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22EC0CCA-5F59-4938-8FEE-A0C132238E4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99507" y="6337944"/>
            <a:ext cx="3836467" cy="1638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135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r>
              <a:rPr kumimoji="0" lang="fr-CH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Arial" panose="020B0604020202020204" pitchFamily="34" charset="0"/>
              </a:rPr>
              <a:t>Présentation ACF-FGV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15" name="Straight Connector 13">
            <a:extLst>
              <a:ext uri="{FF2B5EF4-FFF2-40B4-BE49-F238E27FC236}">
                <a16:creationId xmlns:a16="http://schemas.microsoft.com/office/drawing/2014/main" id="{D47CB884-00AD-434B-8AC5-85CA0749C436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49263" y="6248400"/>
            <a:ext cx="11293475" cy="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775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4" r:id="rId4"/>
    <p:sldLayoutId id="214748365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9DCF2-DD5E-F1E1-24CB-B07035CF75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F328BC-DCF2-481B-BACC-1EB6A08386A8}" type="datetimeFigureOut">
              <a:rPr lang="fr-CH" smtClean="0"/>
              <a:pPr/>
              <a:t>11.05.2026</a:t>
            </a:fld>
            <a:r>
              <a:rPr lang="fr-CH"/>
              <a:t>	Programme DIGI-FR</a:t>
            </a:r>
          </a:p>
        </p:txBody>
      </p:sp>
      <p:pic>
        <p:nvPicPr>
          <p:cNvPr id="10" name="Picture 8" descr="logo_etat_FR_vers_compacte.jpg">
            <a:extLst>
              <a:ext uri="{FF2B5EF4-FFF2-40B4-BE49-F238E27FC236}">
                <a16:creationId xmlns:a16="http://schemas.microsoft.com/office/drawing/2014/main" id="{CEE37BC9-9EA3-5F97-B605-8D8D105A37E8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1087271" y="6271684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9974EBB-9608-8370-EE39-D3F8B5CEC5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53695" y="6198378"/>
            <a:ext cx="1099522" cy="38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624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2">
            <a:extLst>
              <a:ext uri="{FF2B5EF4-FFF2-40B4-BE49-F238E27FC236}">
                <a16:creationId xmlns:a16="http://schemas.microsoft.com/office/drawing/2014/main" id="{15F2DE2E-5368-6F36-EACF-9305156C94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076" y="2342448"/>
            <a:ext cx="9809665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 marL="539750" indent="-539750">
              <a:spcBef>
                <a:spcPct val="20000"/>
              </a:spcBef>
              <a:buChar char="•"/>
              <a:tabLst>
                <a:tab pos="531813" algn="l"/>
              </a:tabLst>
              <a:defRPr sz="32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531813" algn="l"/>
              </a:tabLst>
              <a:defRPr sz="28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531813" algn="l"/>
              </a:tabLst>
              <a:defRPr sz="24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531813" algn="l"/>
              </a:tabLst>
              <a:defRPr sz="2000">
                <a:solidFill>
                  <a:schemeClr val="tx1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r>
              <a:rPr lang="fr-FR" altLang="de-DE" sz="2800" b="1">
                <a:latin typeface="Manrope" pitchFamily="2" charset="0"/>
                <a:ea typeface="MS PGothic"/>
                <a:cs typeface="Calibri"/>
              </a:rPr>
              <a:t>Association des Communes Fribourgeoises</a:t>
            </a:r>
          </a:p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endParaRPr lang="fr-FR" altLang="de-DE" sz="1000">
              <a:latin typeface="Manrope" pitchFamily="2" charset="0"/>
              <a:ea typeface="MS PGothic"/>
              <a:cs typeface="Calibri"/>
            </a:endParaRPr>
          </a:p>
          <a:p>
            <a:pPr marL="0" indent="0">
              <a:spcBef>
                <a:spcPct val="0"/>
              </a:spcBef>
              <a:buNone/>
              <a:tabLst>
                <a:tab pos="534988" algn="l"/>
              </a:tabLst>
              <a:defRPr/>
            </a:pPr>
            <a:r>
              <a:rPr lang="fr-CH" altLang="de-DE" sz="2400">
                <a:latin typeface="Manrope" pitchFamily="2" charset="0"/>
                <a:ea typeface="MS PGothic"/>
                <a:cs typeface="Calibri"/>
              </a:rPr>
              <a:t>Centre de compétences de politique locale</a:t>
            </a:r>
            <a:endParaRPr lang="fr-FR" altLang="de-DE" sz="2000">
              <a:latin typeface="Manrope" pitchFamily="2" charset="0"/>
              <a:ea typeface="MS PGothic"/>
              <a:cs typeface="Calibri"/>
            </a:endParaRPr>
          </a:p>
        </p:txBody>
      </p:sp>
      <p:pic>
        <p:nvPicPr>
          <p:cNvPr id="22" name="Image 21" descr="Une image contenant silhouette, panorama, noir et blanc, ciel&#10;&#10;Description générée automatiquement">
            <a:extLst>
              <a:ext uri="{FF2B5EF4-FFF2-40B4-BE49-F238E27FC236}">
                <a16:creationId xmlns:a16="http://schemas.microsoft.com/office/drawing/2014/main" id="{37F7A3BC-2691-91E0-2DBF-17E5501C588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263019"/>
            <a:ext cx="12191999" cy="1594981"/>
          </a:xfrm>
          <a:prstGeom prst="rect">
            <a:avLst/>
          </a:prstGeom>
        </p:spPr>
      </p:pic>
      <p:pic>
        <p:nvPicPr>
          <p:cNvPr id="5" name="Espace réservé pour une image  4" descr="Une image contenant texte, Police, logo, blanc&#10;&#10;Description générée automatiquement">
            <a:extLst>
              <a:ext uri="{FF2B5EF4-FFF2-40B4-BE49-F238E27FC236}">
                <a16:creationId xmlns:a16="http://schemas.microsoft.com/office/drawing/2014/main" id="{AA5197A9-4F5E-6F77-2973-F2FCC375C95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5" b="7755"/>
          <a:stretch>
            <a:fillRect/>
          </a:stretch>
        </p:blipFill>
        <p:spPr>
          <a:xfrm>
            <a:off x="416076" y="426366"/>
            <a:ext cx="1214214" cy="432000"/>
          </a:xfrm>
        </p:spPr>
      </p:pic>
    </p:spTree>
    <p:extLst>
      <p:ext uri="{BB962C8B-B14F-4D97-AF65-F5344CB8AC3E}">
        <p14:creationId xmlns:p14="http://schemas.microsoft.com/office/powerpoint/2010/main" val="293334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83F76-6315-21B8-D182-982F6DF45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Visage humain, habits, personne, sourire&#10;&#10;Le contenu généré par l’IA peut être incorrect.">
            <a:extLst>
              <a:ext uri="{FF2B5EF4-FFF2-40B4-BE49-F238E27FC236}">
                <a16:creationId xmlns:a16="http://schemas.microsoft.com/office/drawing/2014/main" id="{DDE0FB9F-7262-00BE-7977-FC819C8597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518" b="2212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C5A9E3C4-DBC4-0391-B3C4-21DEFA254D78}"/>
              </a:ext>
            </a:extLst>
          </p:cNvPr>
          <p:cNvSpPr/>
          <p:nvPr/>
        </p:nvSpPr>
        <p:spPr>
          <a:xfrm>
            <a:off x="3124200" y="2845904"/>
            <a:ext cx="5943600" cy="1141839"/>
          </a:xfrm>
          <a:prstGeom prst="round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Merci de votre attention !</a:t>
            </a:r>
          </a:p>
          <a:p>
            <a:pPr algn="ctr"/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info@acf-fgv.ch</a:t>
            </a:r>
          </a:p>
          <a:p>
            <a:pPr algn="ctr"/>
            <a:r>
              <a:rPr lang="fr-CH" sz="2000" b="1" dirty="0">
                <a:solidFill>
                  <a:schemeClr val="tx1"/>
                </a:solidFill>
                <a:latin typeface="Manrope" pitchFamily="2" charset="0"/>
              </a:rPr>
              <a:t>026 677 04 25</a:t>
            </a:r>
          </a:p>
        </p:txBody>
      </p:sp>
    </p:spTree>
    <p:extLst>
      <p:ext uri="{BB962C8B-B14F-4D97-AF65-F5344CB8AC3E}">
        <p14:creationId xmlns:p14="http://schemas.microsoft.com/office/powerpoint/2010/main" val="3196757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705EF-7AFA-F51C-2CD1-E1C561717F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>
            <a:extLst>
              <a:ext uri="{FF2B5EF4-FFF2-40B4-BE49-F238E27FC236}">
                <a16:creationId xmlns:a16="http://schemas.microsoft.com/office/drawing/2014/main" id="{70DF1264-87A6-19A6-7A55-2FC2FCDAA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fr-CH">
                <a:cs typeface="Arial" panose="020B0604020202020204" pitchFamily="34" charset="0"/>
              </a:rPr>
              <a:t>L’ACF agit dès les travaux préparatoires jusqu’à ce que chaque commune passe à la mise en œuvre</a:t>
            </a:r>
          </a:p>
        </p:txBody>
      </p:sp>
      <p:sp>
        <p:nvSpPr>
          <p:cNvPr id="6" name="Flèche : pentagone 5">
            <a:extLst>
              <a:ext uri="{FF2B5EF4-FFF2-40B4-BE49-F238E27FC236}">
                <a16:creationId xmlns:a16="http://schemas.microsoft.com/office/drawing/2014/main" id="{835D7C2B-908B-65D5-350D-3AE68691DE32}"/>
              </a:ext>
            </a:extLst>
          </p:cNvPr>
          <p:cNvSpPr/>
          <p:nvPr/>
        </p:nvSpPr>
        <p:spPr>
          <a:xfrm>
            <a:off x="233082" y="3083067"/>
            <a:ext cx="1048871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Veille</a:t>
            </a:r>
          </a:p>
        </p:txBody>
      </p:sp>
      <p:sp>
        <p:nvSpPr>
          <p:cNvPr id="8" name="Flèche : pentagone 7">
            <a:extLst>
              <a:ext uri="{FF2B5EF4-FFF2-40B4-BE49-F238E27FC236}">
                <a16:creationId xmlns:a16="http://schemas.microsoft.com/office/drawing/2014/main" id="{113C9C78-91C7-5C48-CBAF-06521E9069CE}"/>
              </a:ext>
            </a:extLst>
          </p:cNvPr>
          <p:cNvSpPr/>
          <p:nvPr/>
        </p:nvSpPr>
        <p:spPr>
          <a:xfrm>
            <a:off x="1281953" y="3083066"/>
            <a:ext cx="1685366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Accompagnement du travail de commission</a:t>
            </a:r>
          </a:p>
        </p:txBody>
      </p:sp>
      <p:sp>
        <p:nvSpPr>
          <p:cNvPr id="9" name="Flèche : pentagone 8">
            <a:extLst>
              <a:ext uri="{FF2B5EF4-FFF2-40B4-BE49-F238E27FC236}">
                <a16:creationId xmlns:a16="http://schemas.microsoft.com/office/drawing/2014/main" id="{4EC3F7BE-76CB-5243-CF72-EE37F2DF84AA}"/>
              </a:ext>
            </a:extLst>
          </p:cNvPr>
          <p:cNvSpPr/>
          <p:nvPr/>
        </p:nvSpPr>
        <p:spPr>
          <a:xfrm>
            <a:off x="2967319" y="3083066"/>
            <a:ext cx="1685366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Elaboration d’une prise de position concertée</a:t>
            </a:r>
          </a:p>
        </p:txBody>
      </p:sp>
      <p:sp>
        <p:nvSpPr>
          <p:cNvPr id="10" name="Flèche : pentagone 9">
            <a:extLst>
              <a:ext uri="{FF2B5EF4-FFF2-40B4-BE49-F238E27FC236}">
                <a16:creationId xmlns:a16="http://schemas.microsoft.com/office/drawing/2014/main" id="{2F01EE7A-6184-3465-8183-2A28FB97B9CE}"/>
              </a:ext>
            </a:extLst>
          </p:cNvPr>
          <p:cNvSpPr/>
          <p:nvPr/>
        </p:nvSpPr>
        <p:spPr>
          <a:xfrm>
            <a:off x="4661646" y="3083066"/>
            <a:ext cx="1434354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Suivi parlementaire et politique</a:t>
            </a:r>
          </a:p>
        </p:txBody>
      </p:sp>
      <p:sp>
        <p:nvSpPr>
          <p:cNvPr id="2" name="Organigramme : Décision 1">
            <a:extLst>
              <a:ext uri="{FF2B5EF4-FFF2-40B4-BE49-F238E27FC236}">
                <a16:creationId xmlns:a16="http://schemas.microsoft.com/office/drawing/2014/main" id="{95B218FD-DEA6-7254-4224-68BC81EBC307}"/>
              </a:ext>
            </a:extLst>
          </p:cNvPr>
          <p:cNvSpPr/>
          <p:nvPr/>
        </p:nvSpPr>
        <p:spPr>
          <a:xfrm>
            <a:off x="6113075" y="3281081"/>
            <a:ext cx="315460" cy="295835"/>
          </a:xfrm>
          <a:prstGeom prst="flowChartDecisi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3" name="Flèche : pentagone 2">
            <a:extLst>
              <a:ext uri="{FF2B5EF4-FFF2-40B4-BE49-F238E27FC236}">
                <a16:creationId xmlns:a16="http://schemas.microsoft.com/office/drawing/2014/main" id="{20C4899D-ABD4-9389-0C76-D3D91CD2F5ED}"/>
              </a:ext>
            </a:extLst>
          </p:cNvPr>
          <p:cNvSpPr/>
          <p:nvPr/>
        </p:nvSpPr>
        <p:spPr>
          <a:xfrm>
            <a:off x="6419574" y="1785290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Formations</a:t>
            </a:r>
          </a:p>
        </p:txBody>
      </p:sp>
      <p:sp>
        <p:nvSpPr>
          <p:cNvPr id="4" name="Flèche : pentagone 3">
            <a:extLst>
              <a:ext uri="{FF2B5EF4-FFF2-40B4-BE49-F238E27FC236}">
                <a16:creationId xmlns:a16="http://schemas.microsoft.com/office/drawing/2014/main" id="{8EAADAFA-07A6-5B2F-D0A0-683FFEB7B5EB}"/>
              </a:ext>
            </a:extLst>
          </p:cNvPr>
          <p:cNvSpPr/>
          <p:nvPr/>
        </p:nvSpPr>
        <p:spPr>
          <a:xfrm>
            <a:off x="6428535" y="2661726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Outils, modèles et autres ressources</a:t>
            </a:r>
          </a:p>
        </p:txBody>
      </p:sp>
      <p:sp>
        <p:nvSpPr>
          <p:cNvPr id="5" name="Flèche : pentagone 4">
            <a:extLst>
              <a:ext uri="{FF2B5EF4-FFF2-40B4-BE49-F238E27FC236}">
                <a16:creationId xmlns:a16="http://schemas.microsoft.com/office/drawing/2014/main" id="{D08C97A4-42F6-F370-2C80-07172371B9F9}"/>
              </a:ext>
            </a:extLst>
          </p:cNvPr>
          <p:cNvSpPr/>
          <p:nvPr/>
        </p:nvSpPr>
        <p:spPr>
          <a:xfrm>
            <a:off x="6428535" y="3511634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Mise à jour de la base de connaissance ACF</a:t>
            </a:r>
          </a:p>
        </p:txBody>
      </p:sp>
      <p:sp>
        <p:nvSpPr>
          <p:cNvPr id="15" name="Flèche : pentagone 14">
            <a:extLst>
              <a:ext uri="{FF2B5EF4-FFF2-40B4-BE49-F238E27FC236}">
                <a16:creationId xmlns:a16="http://schemas.microsoft.com/office/drawing/2014/main" id="{A01F5E06-BF7D-5C8E-8DA5-46689AB91B27}"/>
              </a:ext>
            </a:extLst>
          </p:cNvPr>
          <p:cNvSpPr/>
          <p:nvPr/>
        </p:nvSpPr>
        <p:spPr>
          <a:xfrm>
            <a:off x="9407437" y="2670689"/>
            <a:ext cx="2239485" cy="691866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solidFill>
                  <a:schemeClr val="tx1"/>
                </a:solidFill>
                <a:latin typeface="Manrope" pitchFamily="2" charset="0"/>
              </a:rPr>
              <a:t>Mise en œuvre dans chaque commun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E096AFB6-CE07-220A-64F0-33892397A698}"/>
              </a:ext>
            </a:extLst>
          </p:cNvPr>
          <p:cNvCxnSpPr>
            <a:cxnSpLocks/>
            <a:stCxn id="15" idx="1"/>
            <a:endCxn id="4" idx="3"/>
          </p:cNvCxnSpPr>
          <p:nvPr/>
        </p:nvCxnSpPr>
        <p:spPr>
          <a:xfrm flipH="1" flipV="1">
            <a:off x="8668020" y="3007659"/>
            <a:ext cx="739417" cy="89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D1D3C98C-5A35-BD37-ED03-D8A58967CB0A}"/>
              </a:ext>
            </a:extLst>
          </p:cNvPr>
          <p:cNvCxnSpPr>
            <a:cxnSpLocks/>
          </p:cNvCxnSpPr>
          <p:nvPr/>
        </p:nvCxnSpPr>
        <p:spPr>
          <a:xfrm>
            <a:off x="8945933" y="2131223"/>
            <a:ext cx="0" cy="25672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57048321-A49A-65CD-3196-90C20D738628}"/>
              </a:ext>
            </a:extLst>
          </p:cNvPr>
          <p:cNvCxnSpPr>
            <a:cxnSpLocks/>
            <a:endCxn id="3" idx="3"/>
          </p:cNvCxnSpPr>
          <p:nvPr/>
        </p:nvCxnSpPr>
        <p:spPr>
          <a:xfrm flipH="1">
            <a:off x="8659059" y="2131223"/>
            <a:ext cx="2868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0201CD7B-7E52-D074-5C73-0A39590AB561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8668020" y="3857567"/>
            <a:ext cx="2779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èche : pentagone 10">
            <a:extLst>
              <a:ext uri="{FF2B5EF4-FFF2-40B4-BE49-F238E27FC236}">
                <a16:creationId xmlns:a16="http://schemas.microsoft.com/office/drawing/2014/main" id="{3D056920-BCB4-78C0-DBC3-D06443A871E3}"/>
              </a:ext>
            </a:extLst>
          </p:cNvPr>
          <p:cNvSpPr/>
          <p:nvPr/>
        </p:nvSpPr>
        <p:spPr>
          <a:xfrm>
            <a:off x="6419573" y="4352579"/>
            <a:ext cx="2239485" cy="691866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>
                <a:latin typeface="Manrope" pitchFamily="2" charset="0"/>
              </a:rPr>
              <a:t>Mise en réseau et échanges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741E911-A1BA-752C-BC67-D7F52EA88DA9}"/>
              </a:ext>
            </a:extLst>
          </p:cNvPr>
          <p:cNvCxnSpPr>
            <a:cxnSpLocks/>
          </p:cNvCxnSpPr>
          <p:nvPr/>
        </p:nvCxnSpPr>
        <p:spPr>
          <a:xfrm flipH="1">
            <a:off x="8668020" y="4710220"/>
            <a:ext cx="2779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08529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7DC2C-5923-298E-7669-D1795E61D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>
            <a:extLst>
              <a:ext uri="{FF2B5EF4-FFF2-40B4-BE49-F238E27FC236}">
                <a16:creationId xmlns:a16="http://schemas.microsoft.com/office/drawing/2014/main" id="{8EE83B47-F40F-6A9D-202B-4518E782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fr-CH" dirty="0">
                <a:cs typeface="Arial" panose="020B0604020202020204" pitchFamily="34" charset="0"/>
              </a:rPr>
              <a:t>Nos 5 domaines d’activités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6A343A2-5630-9DF3-6B4E-480CEF973E3C}"/>
              </a:ext>
            </a:extLst>
          </p:cNvPr>
          <p:cNvGrpSpPr/>
          <p:nvPr/>
        </p:nvGrpSpPr>
        <p:grpSpPr>
          <a:xfrm>
            <a:off x="3444870" y="717899"/>
            <a:ext cx="5302260" cy="5377602"/>
            <a:chOff x="3669740" y="778060"/>
            <a:chExt cx="4804477" cy="4716874"/>
          </a:xfrm>
        </p:grpSpPr>
        <p:sp>
          <p:nvSpPr>
            <p:cNvPr id="13" name="Freeform: Shape 74">
              <a:extLst>
                <a:ext uri="{FF2B5EF4-FFF2-40B4-BE49-F238E27FC236}">
                  <a16:creationId xmlns:a16="http://schemas.microsoft.com/office/drawing/2014/main" id="{508F2650-30DF-20AC-3A6A-5B0CA757F7EA}"/>
                </a:ext>
              </a:extLst>
            </p:cNvPr>
            <p:cNvSpPr/>
            <p:nvPr/>
          </p:nvSpPr>
          <p:spPr>
            <a:xfrm rot="5400000">
              <a:off x="4725124" y="1517251"/>
              <a:ext cx="1389842" cy="1351903"/>
            </a:xfrm>
            <a:custGeom>
              <a:avLst/>
              <a:gdLst>
                <a:gd name="connsiteX0" fmla="*/ 0 w 1244177"/>
                <a:gd name="connsiteY0" fmla="*/ 918753 h 1210214"/>
                <a:gd name="connsiteX1" fmla="*/ 354463 w 1244177"/>
                <a:gd name="connsiteY1" fmla="*/ 63003 h 1210214"/>
                <a:gd name="connsiteX2" fmla="*/ 423784 w 1244177"/>
                <a:gd name="connsiteY2" fmla="*/ 0 h 1210214"/>
                <a:gd name="connsiteX3" fmla="*/ 440405 w 1244177"/>
                <a:gd name="connsiteY3" fmla="*/ 15107 h 1210214"/>
                <a:gd name="connsiteX4" fmla="*/ 1086475 w 1244177"/>
                <a:gd name="connsiteY4" fmla="*/ 285213 h 1210214"/>
                <a:gd name="connsiteX5" fmla="*/ 1186908 w 1244177"/>
                <a:gd name="connsiteY5" fmla="*/ 290284 h 1210214"/>
                <a:gd name="connsiteX6" fmla="*/ 1181935 w 1244177"/>
                <a:gd name="connsiteY6" fmla="*/ 309628 h 1210214"/>
                <a:gd name="connsiteX7" fmla="*/ 1157347 w 1244177"/>
                <a:gd name="connsiteY7" fmla="*/ 553528 h 1210214"/>
                <a:gd name="connsiteX8" fmla="*/ 1211757 w 1244177"/>
                <a:gd name="connsiteY8" fmla="*/ 913409 h 1210214"/>
                <a:gd name="connsiteX9" fmla="*/ 1244177 w 1244177"/>
                <a:gd name="connsiteY9" fmla="*/ 1001988 h 1210214"/>
                <a:gd name="connsiteX10" fmla="*/ 1242117 w 1244177"/>
                <a:gd name="connsiteY10" fmla="*/ 1003529 h 1210214"/>
                <a:gd name="connsiteX11" fmla="*/ 565475 w 1244177"/>
                <a:gd name="connsiteY11" fmla="*/ 1210214 h 1210214"/>
                <a:gd name="connsiteX12" fmla="*/ 94406 w 1244177"/>
                <a:gd name="connsiteY12" fmla="*/ 1115109 h 1210214"/>
                <a:gd name="connsiteX13" fmla="*/ 11215 w 1244177"/>
                <a:gd name="connsiteY13" fmla="*/ 1075034 h 1210214"/>
                <a:gd name="connsiteX14" fmla="*/ 6248 w 1244177"/>
                <a:gd name="connsiteY14" fmla="*/ 1042490 h 1210214"/>
                <a:gd name="connsiteX15" fmla="*/ 0 w 1244177"/>
                <a:gd name="connsiteY15" fmla="*/ 918753 h 1210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177" h="1210214">
                  <a:moveTo>
                    <a:pt x="0" y="918753"/>
                  </a:moveTo>
                  <a:cubicBezTo>
                    <a:pt x="0" y="584562"/>
                    <a:pt x="135458" y="282009"/>
                    <a:pt x="354463" y="63003"/>
                  </a:cubicBezTo>
                  <a:lnTo>
                    <a:pt x="423784" y="0"/>
                  </a:lnTo>
                  <a:lnTo>
                    <a:pt x="440405" y="15107"/>
                  </a:lnTo>
                  <a:cubicBezTo>
                    <a:pt x="619716" y="163087"/>
                    <a:pt x="842372" y="260423"/>
                    <a:pt x="1086475" y="285213"/>
                  </a:cubicBezTo>
                  <a:lnTo>
                    <a:pt x="1186908" y="290284"/>
                  </a:lnTo>
                  <a:lnTo>
                    <a:pt x="1181935" y="309628"/>
                  </a:lnTo>
                  <a:cubicBezTo>
                    <a:pt x="1165814" y="388409"/>
                    <a:pt x="1157347" y="469980"/>
                    <a:pt x="1157347" y="553528"/>
                  </a:cubicBezTo>
                  <a:cubicBezTo>
                    <a:pt x="1157347" y="678850"/>
                    <a:pt x="1176396" y="799722"/>
                    <a:pt x="1211757" y="913409"/>
                  </a:cubicBezTo>
                  <a:lnTo>
                    <a:pt x="1244177" y="1001988"/>
                  </a:lnTo>
                  <a:lnTo>
                    <a:pt x="1242117" y="1003529"/>
                  </a:lnTo>
                  <a:cubicBezTo>
                    <a:pt x="1048965" y="1134019"/>
                    <a:pt x="816119" y="1210214"/>
                    <a:pt x="565475" y="1210214"/>
                  </a:cubicBezTo>
                  <a:cubicBezTo>
                    <a:pt x="398380" y="1210214"/>
                    <a:pt x="239194" y="1176349"/>
                    <a:pt x="94406" y="1115109"/>
                  </a:cubicBezTo>
                  <a:lnTo>
                    <a:pt x="11215" y="1075034"/>
                  </a:lnTo>
                  <a:lnTo>
                    <a:pt x="6248" y="1042490"/>
                  </a:lnTo>
                  <a:cubicBezTo>
                    <a:pt x="2117" y="1001806"/>
                    <a:pt x="0" y="960527"/>
                    <a:pt x="0" y="918753"/>
                  </a:cubicBezTo>
                  <a:close/>
                </a:path>
              </a:pathLst>
            </a:custGeom>
            <a:solidFill>
              <a:srgbClr val="7F7F7F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14" name="Freeform: Shape 75">
              <a:extLst>
                <a:ext uri="{FF2B5EF4-FFF2-40B4-BE49-F238E27FC236}">
                  <a16:creationId xmlns:a16="http://schemas.microsoft.com/office/drawing/2014/main" id="{05B5AE3F-70E2-CF50-77E3-81C6D2C348B3}"/>
                </a:ext>
              </a:extLst>
            </p:cNvPr>
            <p:cNvSpPr/>
            <p:nvPr/>
          </p:nvSpPr>
          <p:spPr>
            <a:xfrm rot="5400000">
              <a:off x="6077025" y="1517253"/>
              <a:ext cx="1389845" cy="1351901"/>
            </a:xfrm>
            <a:custGeom>
              <a:avLst/>
              <a:gdLst>
                <a:gd name="connsiteX0" fmla="*/ 0 w 1244179"/>
                <a:gd name="connsiteY0" fmla="*/ 291460 h 1210212"/>
                <a:gd name="connsiteX1" fmla="*/ 6248 w 1244179"/>
                <a:gd name="connsiteY1" fmla="*/ 167723 h 1210212"/>
                <a:gd name="connsiteX2" fmla="*/ 11215 w 1244179"/>
                <a:gd name="connsiteY2" fmla="*/ 135180 h 1210212"/>
                <a:gd name="connsiteX3" fmla="*/ 94406 w 1244179"/>
                <a:gd name="connsiteY3" fmla="*/ 95105 h 1210212"/>
                <a:gd name="connsiteX4" fmla="*/ 565475 w 1244179"/>
                <a:gd name="connsiteY4" fmla="*/ 0 h 1210212"/>
                <a:gd name="connsiteX5" fmla="*/ 1242117 w 1244179"/>
                <a:gd name="connsiteY5" fmla="*/ 206685 h 1210212"/>
                <a:gd name="connsiteX6" fmla="*/ 1244179 w 1244179"/>
                <a:gd name="connsiteY6" fmla="*/ 208227 h 1210212"/>
                <a:gd name="connsiteX7" fmla="*/ 1211760 w 1244179"/>
                <a:gd name="connsiteY7" fmla="*/ 296804 h 1210212"/>
                <a:gd name="connsiteX8" fmla="*/ 1157351 w 1244179"/>
                <a:gd name="connsiteY8" fmla="*/ 656684 h 1210212"/>
                <a:gd name="connsiteX9" fmla="*/ 1181938 w 1244179"/>
                <a:gd name="connsiteY9" fmla="*/ 900584 h 1210212"/>
                <a:gd name="connsiteX10" fmla="*/ 1186912 w 1244179"/>
                <a:gd name="connsiteY10" fmla="*/ 919928 h 1210212"/>
                <a:gd name="connsiteX11" fmla="*/ 1086475 w 1244179"/>
                <a:gd name="connsiteY11" fmla="*/ 925000 h 1210212"/>
                <a:gd name="connsiteX12" fmla="*/ 440405 w 1244179"/>
                <a:gd name="connsiteY12" fmla="*/ 1195106 h 1210212"/>
                <a:gd name="connsiteX13" fmla="*/ 423784 w 1244179"/>
                <a:gd name="connsiteY13" fmla="*/ 1210212 h 1210212"/>
                <a:gd name="connsiteX14" fmla="*/ 354463 w 1244179"/>
                <a:gd name="connsiteY14" fmla="*/ 1147210 h 1210212"/>
                <a:gd name="connsiteX15" fmla="*/ 0 w 1244179"/>
                <a:gd name="connsiteY15" fmla="*/ 291460 h 121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179" h="1210212">
                  <a:moveTo>
                    <a:pt x="0" y="291460"/>
                  </a:moveTo>
                  <a:cubicBezTo>
                    <a:pt x="0" y="249686"/>
                    <a:pt x="2117" y="208406"/>
                    <a:pt x="6248" y="167723"/>
                  </a:cubicBezTo>
                  <a:lnTo>
                    <a:pt x="11215" y="135180"/>
                  </a:lnTo>
                  <a:lnTo>
                    <a:pt x="94406" y="95105"/>
                  </a:lnTo>
                  <a:cubicBezTo>
                    <a:pt x="239194" y="33864"/>
                    <a:pt x="398380" y="0"/>
                    <a:pt x="565475" y="0"/>
                  </a:cubicBezTo>
                  <a:cubicBezTo>
                    <a:pt x="816119" y="0"/>
                    <a:pt x="1048965" y="76195"/>
                    <a:pt x="1242117" y="206685"/>
                  </a:cubicBezTo>
                  <a:lnTo>
                    <a:pt x="1244179" y="208227"/>
                  </a:lnTo>
                  <a:lnTo>
                    <a:pt x="1211760" y="296804"/>
                  </a:lnTo>
                  <a:cubicBezTo>
                    <a:pt x="1176399" y="410490"/>
                    <a:pt x="1157351" y="531362"/>
                    <a:pt x="1157351" y="656684"/>
                  </a:cubicBezTo>
                  <a:cubicBezTo>
                    <a:pt x="1157351" y="740232"/>
                    <a:pt x="1165817" y="821802"/>
                    <a:pt x="1181938" y="900584"/>
                  </a:cubicBezTo>
                  <a:lnTo>
                    <a:pt x="1186912" y="919928"/>
                  </a:lnTo>
                  <a:lnTo>
                    <a:pt x="1086475" y="925000"/>
                  </a:lnTo>
                  <a:cubicBezTo>
                    <a:pt x="842372" y="949790"/>
                    <a:pt x="619716" y="1047125"/>
                    <a:pt x="440405" y="1195106"/>
                  </a:cubicBezTo>
                  <a:lnTo>
                    <a:pt x="423784" y="1210212"/>
                  </a:lnTo>
                  <a:lnTo>
                    <a:pt x="354463" y="1147210"/>
                  </a:lnTo>
                  <a:cubicBezTo>
                    <a:pt x="135458" y="928204"/>
                    <a:pt x="0" y="625651"/>
                    <a:pt x="0" y="291460"/>
                  </a:cubicBezTo>
                  <a:close/>
                </a:path>
              </a:pathLst>
            </a:custGeom>
            <a:solidFill>
              <a:srgbClr val="7F7F7F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19" name="Freeform: Shape 76">
              <a:extLst>
                <a:ext uri="{FF2B5EF4-FFF2-40B4-BE49-F238E27FC236}">
                  <a16:creationId xmlns:a16="http://schemas.microsoft.com/office/drawing/2014/main" id="{47767CDA-7912-CDFE-2980-30713E599C12}"/>
                </a:ext>
              </a:extLst>
            </p:cNvPr>
            <p:cNvSpPr/>
            <p:nvPr/>
          </p:nvSpPr>
          <p:spPr>
            <a:xfrm rot="5400000">
              <a:off x="5772385" y="2822177"/>
              <a:ext cx="321645" cy="325589"/>
            </a:xfrm>
            <a:custGeom>
              <a:avLst/>
              <a:gdLst>
                <a:gd name="connsiteX0" fmla="*/ 0 w 287934"/>
                <a:gd name="connsiteY0" fmla="*/ 290288 h 291465"/>
                <a:gd name="connsiteX1" fmla="*/ 24849 w 287934"/>
                <a:gd name="connsiteY1" fmla="*/ 193651 h 291465"/>
                <a:gd name="connsiteX2" fmla="*/ 65545 w 287934"/>
                <a:gd name="connsiteY2" fmla="*/ 82462 h 291465"/>
                <a:gd name="connsiteX3" fmla="*/ 105268 w 287934"/>
                <a:gd name="connsiteY3" fmla="*/ 0 h 291465"/>
                <a:gd name="connsiteX4" fmla="*/ 116509 w 287934"/>
                <a:gd name="connsiteY4" fmla="*/ 23335 h 291465"/>
                <a:gd name="connsiteX5" fmla="*/ 246796 w 287934"/>
                <a:gd name="connsiteY5" fmla="*/ 216284 h 291465"/>
                <a:gd name="connsiteX6" fmla="*/ 287934 w 287934"/>
                <a:gd name="connsiteY6" fmla="*/ 261547 h 291465"/>
                <a:gd name="connsiteX7" fmla="*/ 267205 w 287934"/>
                <a:gd name="connsiteY7" fmla="*/ 266878 h 291465"/>
                <a:gd name="connsiteX8" fmla="*/ 23305 w 287934"/>
                <a:gd name="connsiteY8" fmla="*/ 291465 h 291465"/>
                <a:gd name="connsiteX9" fmla="*/ 0 w 287934"/>
                <a:gd name="connsiteY9" fmla="*/ 290288 h 29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934" h="291465">
                  <a:moveTo>
                    <a:pt x="0" y="290288"/>
                  </a:moveTo>
                  <a:lnTo>
                    <a:pt x="24849" y="193651"/>
                  </a:lnTo>
                  <a:cubicBezTo>
                    <a:pt x="36635" y="155756"/>
                    <a:pt x="50234" y="118659"/>
                    <a:pt x="65545" y="82462"/>
                  </a:cubicBezTo>
                  <a:lnTo>
                    <a:pt x="105268" y="0"/>
                  </a:lnTo>
                  <a:lnTo>
                    <a:pt x="116509" y="23335"/>
                  </a:lnTo>
                  <a:cubicBezTo>
                    <a:pt x="153770" y="91927"/>
                    <a:pt x="197469" y="156513"/>
                    <a:pt x="246796" y="216284"/>
                  </a:cubicBezTo>
                  <a:lnTo>
                    <a:pt x="287934" y="261547"/>
                  </a:lnTo>
                  <a:lnTo>
                    <a:pt x="267205" y="266878"/>
                  </a:lnTo>
                  <a:cubicBezTo>
                    <a:pt x="188423" y="282999"/>
                    <a:pt x="106852" y="291465"/>
                    <a:pt x="23305" y="291465"/>
                  </a:cubicBezTo>
                  <a:lnTo>
                    <a:pt x="0" y="290288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2" name="Freeform: Shape 77">
              <a:extLst>
                <a:ext uri="{FF2B5EF4-FFF2-40B4-BE49-F238E27FC236}">
                  <a16:creationId xmlns:a16="http://schemas.microsoft.com/office/drawing/2014/main" id="{E699A953-DD8E-65EA-F543-0B172FBE64A5}"/>
                </a:ext>
              </a:extLst>
            </p:cNvPr>
            <p:cNvSpPr/>
            <p:nvPr/>
          </p:nvSpPr>
          <p:spPr>
            <a:xfrm rot="5400000">
              <a:off x="6097973" y="2822183"/>
              <a:ext cx="321637" cy="325579"/>
            </a:xfrm>
            <a:custGeom>
              <a:avLst/>
              <a:gdLst>
                <a:gd name="connsiteX0" fmla="*/ 0 w 287927"/>
                <a:gd name="connsiteY0" fmla="*/ 1176 h 291456"/>
                <a:gd name="connsiteX1" fmla="*/ 23301 w 287927"/>
                <a:gd name="connsiteY1" fmla="*/ 0 h 291456"/>
                <a:gd name="connsiteX2" fmla="*/ 267201 w 287927"/>
                <a:gd name="connsiteY2" fmla="*/ 24587 h 291456"/>
                <a:gd name="connsiteX3" fmla="*/ 287927 w 287927"/>
                <a:gd name="connsiteY3" fmla="*/ 29916 h 291456"/>
                <a:gd name="connsiteX4" fmla="*/ 246790 w 287927"/>
                <a:gd name="connsiteY4" fmla="*/ 75179 h 291456"/>
                <a:gd name="connsiteX5" fmla="*/ 116502 w 287927"/>
                <a:gd name="connsiteY5" fmla="*/ 268128 h 291456"/>
                <a:gd name="connsiteX6" fmla="*/ 105264 w 287927"/>
                <a:gd name="connsiteY6" fmla="*/ 291456 h 291456"/>
                <a:gd name="connsiteX7" fmla="*/ 65543 w 287927"/>
                <a:gd name="connsiteY7" fmla="*/ 209001 h 291456"/>
                <a:gd name="connsiteX8" fmla="*/ 24848 w 287927"/>
                <a:gd name="connsiteY8" fmla="*/ 97812 h 291456"/>
                <a:gd name="connsiteX9" fmla="*/ 0 w 287927"/>
                <a:gd name="connsiteY9" fmla="*/ 1176 h 29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927" h="291456">
                  <a:moveTo>
                    <a:pt x="0" y="1176"/>
                  </a:moveTo>
                  <a:lnTo>
                    <a:pt x="23301" y="0"/>
                  </a:lnTo>
                  <a:cubicBezTo>
                    <a:pt x="106848" y="0"/>
                    <a:pt x="188419" y="8466"/>
                    <a:pt x="267201" y="24587"/>
                  </a:cubicBezTo>
                  <a:lnTo>
                    <a:pt x="287927" y="29916"/>
                  </a:lnTo>
                  <a:lnTo>
                    <a:pt x="246790" y="75179"/>
                  </a:lnTo>
                  <a:cubicBezTo>
                    <a:pt x="197463" y="134950"/>
                    <a:pt x="153763" y="199536"/>
                    <a:pt x="116502" y="268128"/>
                  </a:cubicBezTo>
                  <a:lnTo>
                    <a:pt x="105264" y="291456"/>
                  </a:lnTo>
                  <a:lnTo>
                    <a:pt x="65543" y="209001"/>
                  </a:lnTo>
                  <a:cubicBezTo>
                    <a:pt x="50233" y="172804"/>
                    <a:pt x="36634" y="135707"/>
                    <a:pt x="24848" y="97812"/>
                  </a:cubicBezTo>
                  <a:lnTo>
                    <a:pt x="0" y="1176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3" name="Freeform: Shape 78">
              <a:extLst>
                <a:ext uri="{FF2B5EF4-FFF2-40B4-BE49-F238E27FC236}">
                  <a16:creationId xmlns:a16="http://schemas.microsoft.com/office/drawing/2014/main" id="{BAFC951B-04F0-7D19-2A60-C8BC30C761A0}"/>
                </a:ext>
              </a:extLst>
            </p:cNvPr>
            <p:cNvSpPr/>
            <p:nvPr/>
          </p:nvSpPr>
          <p:spPr>
            <a:xfrm rot="5400000">
              <a:off x="4220128" y="2827176"/>
              <a:ext cx="1313959" cy="1435855"/>
            </a:xfrm>
            <a:custGeom>
              <a:avLst/>
              <a:gdLst>
                <a:gd name="connsiteX0" fmla="*/ 0 w 1176247"/>
                <a:gd name="connsiteY0" fmla="*/ 553530 h 1285367"/>
                <a:gd name="connsiteX1" fmla="*/ 91106 w 1176247"/>
                <a:gd name="connsiteY1" fmla="*/ 485402 h 1285367"/>
                <a:gd name="connsiteX2" fmla="*/ 436407 w 1176247"/>
                <a:gd name="connsiteY2" fmla="*/ 22612 h 1285367"/>
                <a:gd name="connsiteX3" fmla="*/ 444683 w 1176247"/>
                <a:gd name="connsiteY3" fmla="*/ 0 h 1285367"/>
                <a:gd name="connsiteX4" fmla="*/ 446745 w 1176247"/>
                <a:gd name="connsiteY4" fmla="*/ 1542 h 1285367"/>
                <a:gd name="connsiteX5" fmla="*/ 1123385 w 1176247"/>
                <a:gd name="connsiteY5" fmla="*/ 208227 h 1285367"/>
                <a:gd name="connsiteX6" fmla="*/ 1146686 w 1176247"/>
                <a:gd name="connsiteY6" fmla="*/ 207050 h 1285367"/>
                <a:gd name="connsiteX7" fmla="*/ 1151660 w 1176247"/>
                <a:gd name="connsiteY7" fmla="*/ 226395 h 1285367"/>
                <a:gd name="connsiteX8" fmla="*/ 1176247 w 1176247"/>
                <a:gd name="connsiteY8" fmla="*/ 470295 h 1285367"/>
                <a:gd name="connsiteX9" fmla="*/ 899894 w 1176247"/>
                <a:gd name="connsiteY9" fmla="*/ 1240103 h 1285367"/>
                <a:gd name="connsiteX10" fmla="*/ 858755 w 1176247"/>
                <a:gd name="connsiteY10" fmla="*/ 1285367 h 1285367"/>
                <a:gd name="connsiteX11" fmla="*/ 763503 w 1176247"/>
                <a:gd name="connsiteY11" fmla="*/ 1260875 h 1285367"/>
                <a:gd name="connsiteX12" fmla="*/ 8276 w 1176247"/>
                <a:gd name="connsiteY12" fmla="*/ 576140 h 1285367"/>
                <a:gd name="connsiteX13" fmla="*/ 0 w 1176247"/>
                <a:gd name="connsiteY13" fmla="*/ 553530 h 128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6247" h="1285367">
                  <a:moveTo>
                    <a:pt x="0" y="553530"/>
                  </a:moveTo>
                  <a:lnTo>
                    <a:pt x="91106" y="485402"/>
                  </a:lnTo>
                  <a:cubicBezTo>
                    <a:pt x="240532" y="362085"/>
                    <a:pt x="359856" y="203597"/>
                    <a:pt x="436407" y="22612"/>
                  </a:cubicBezTo>
                  <a:lnTo>
                    <a:pt x="444683" y="0"/>
                  </a:lnTo>
                  <a:lnTo>
                    <a:pt x="446745" y="1542"/>
                  </a:lnTo>
                  <a:cubicBezTo>
                    <a:pt x="639896" y="132032"/>
                    <a:pt x="872742" y="208227"/>
                    <a:pt x="1123385" y="208227"/>
                  </a:cubicBezTo>
                  <a:lnTo>
                    <a:pt x="1146686" y="207050"/>
                  </a:lnTo>
                  <a:lnTo>
                    <a:pt x="1151660" y="226395"/>
                  </a:lnTo>
                  <a:cubicBezTo>
                    <a:pt x="1167781" y="305177"/>
                    <a:pt x="1176247" y="386747"/>
                    <a:pt x="1176247" y="470295"/>
                  </a:cubicBezTo>
                  <a:cubicBezTo>
                    <a:pt x="1176247" y="762712"/>
                    <a:pt x="1072538" y="1030906"/>
                    <a:pt x="899894" y="1240103"/>
                  </a:cubicBezTo>
                  <a:lnTo>
                    <a:pt x="858755" y="1285367"/>
                  </a:lnTo>
                  <a:lnTo>
                    <a:pt x="763503" y="1260875"/>
                  </a:lnTo>
                  <a:cubicBezTo>
                    <a:pt x="422445" y="1154795"/>
                    <a:pt x="146066" y="901913"/>
                    <a:pt x="8276" y="576140"/>
                  </a:cubicBezTo>
                  <a:lnTo>
                    <a:pt x="0" y="553530"/>
                  </a:lnTo>
                  <a:close/>
                </a:path>
              </a:pathLst>
            </a:custGeom>
            <a:solidFill>
              <a:srgbClr val="7F7F7F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4" name="Freeform: Shape 99">
              <a:extLst>
                <a:ext uri="{FF2B5EF4-FFF2-40B4-BE49-F238E27FC236}">
                  <a16:creationId xmlns:a16="http://schemas.microsoft.com/office/drawing/2014/main" id="{73D375C3-954D-EDDD-8A3B-CBEB7108A1FA}"/>
                </a:ext>
              </a:extLst>
            </p:cNvPr>
            <p:cNvSpPr/>
            <p:nvPr/>
          </p:nvSpPr>
          <p:spPr>
            <a:xfrm rot="5400000">
              <a:off x="6657909" y="2827178"/>
              <a:ext cx="1313957" cy="1435852"/>
            </a:xfrm>
            <a:custGeom>
              <a:avLst/>
              <a:gdLst>
                <a:gd name="connsiteX0" fmla="*/ 0 w 1176245"/>
                <a:gd name="connsiteY0" fmla="*/ 731839 h 1285364"/>
                <a:gd name="connsiteX1" fmla="*/ 8276 w 1176245"/>
                <a:gd name="connsiteY1" fmla="*/ 709227 h 1285364"/>
                <a:gd name="connsiteX2" fmla="*/ 763504 w 1176245"/>
                <a:gd name="connsiteY2" fmla="*/ 24492 h 1285364"/>
                <a:gd name="connsiteX3" fmla="*/ 858754 w 1176245"/>
                <a:gd name="connsiteY3" fmla="*/ 0 h 1285364"/>
                <a:gd name="connsiteX4" fmla="*/ 899893 w 1176245"/>
                <a:gd name="connsiteY4" fmla="*/ 45264 h 1285364"/>
                <a:gd name="connsiteX5" fmla="*/ 1176245 w 1176245"/>
                <a:gd name="connsiteY5" fmla="*/ 815072 h 1285364"/>
                <a:gd name="connsiteX6" fmla="*/ 1151658 w 1176245"/>
                <a:gd name="connsiteY6" fmla="*/ 1058972 h 1285364"/>
                <a:gd name="connsiteX7" fmla="*/ 1146685 w 1176245"/>
                <a:gd name="connsiteY7" fmla="*/ 1078314 h 1285364"/>
                <a:gd name="connsiteX8" fmla="*/ 1123382 w 1176245"/>
                <a:gd name="connsiteY8" fmla="*/ 1077138 h 1285364"/>
                <a:gd name="connsiteX9" fmla="*/ 446741 w 1176245"/>
                <a:gd name="connsiteY9" fmla="*/ 1283823 h 1285364"/>
                <a:gd name="connsiteX10" fmla="*/ 444679 w 1176245"/>
                <a:gd name="connsiteY10" fmla="*/ 1285364 h 1285364"/>
                <a:gd name="connsiteX11" fmla="*/ 436405 w 1176245"/>
                <a:gd name="connsiteY11" fmla="*/ 1262756 h 1285364"/>
                <a:gd name="connsiteX12" fmla="*/ 91104 w 1176245"/>
                <a:gd name="connsiteY12" fmla="*/ 799966 h 1285364"/>
                <a:gd name="connsiteX13" fmla="*/ 0 w 1176245"/>
                <a:gd name="connsiteY13" fmla="*/ 731839 h 12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6245" h="1285364">
                  <a:moveTo>
                    <a:pt x="0" y="731839"/>
                  </a:moveTo>
                  <a:lnTo>
                    <a:pt x="8276" y="709227"/>
                  </a:lnTo>
                  <a:cubicBezTo>
                    <a:pt x="146066" y="383454"/>
                    <a:pt x="422445" y="130572"/>
                    <a:pt x="763504" y="24492"/>
                  </a:cubicBezTo>
                  <a:lnTo>
                    <a:pt x="858754" y="0"/>
                  </a:lnTo>
                  <a:lnTo>
                    <a:pt x="899893" y="45264"/>
                  </a:lnTo>
                  <a:cubicBezTo>
                    <a:pt x="1072536" y="254460"/>
                    <a:pt x="1176245" y="522655"/>
                    <a:pt x="1176245" y="815072"/>
                  </a:cubicBezTo>
                  <a:cubicBezTo>
                    <a:pt x="1176245" y="898620"/>
                    <a:pt x="1167779" y="980190"/>
                    <a:pt x="1151658" y="1058972"/>
                  </a:cubicBezTo>
                  <a:lnTo>
                    <a:pt x="1146685" y="1078314"/>
                  </a:lnTo>
                  <a:lnTo>
                    <a:pt x="1123382" y="1077138"/>
                  </a:lnTo>
                  <a:cubicBezTo>
                    <a:pt x="872739" y="1077138"/>
                    <a:pt x="639892" y="1153333"/>
                    <a:pt x="446741" y="1283823"/>
                  </a:cubicBezTo>
                  <a:lnTo>
                    <a:pt x="444679" y="1285364"/>
                  </a:lnTo>
                  <a:lnTo>
                    <a:pt x="436405" y="1262756"/>
                  </a:lnTo>
                  <a:cubicBezTo>
                    <a:pt x="359854" y="1081770"/>
                    <a:pt x="240530" y="923283"/>
                    <a:pt x="91104" y="799966"/>
                  </a:cubicBezTo>
                  <a:lnTo>
                    <a:pt x="0" y="731839"/>
                  </a:lnTo>
                  <a:close/>
                </a:path>
              </a:pathLst>
            </a:custGeom>
            <a:solidFill>
              <a:srgbClr val="7F7F7F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5" name="Freeform: Shape 100">
              <a:extLst>
                <a:ext uri="{FF2B5EF4-FFF2-40B4-BE49-F238E27FC236}">
                  <a16:creationId xmlns:a16="http://schemas.microsoft.com/office/drawing/2014/main" id="{03C1D111-348B-5862-0429-20EE6E8A6C09}"/>
                </a:ext>
              </a:extLst>
            </p:cNvPr>
            <p:cNvSpPr/>
            <p:nvPr/>
          </p:nvSpPr>
          <p:spPr>
            <a:xfrm rot="5400000">
              <a:off x="6271997" y="3144369"/>
              <a:ext cx="323544" cy="326387"/>
            </a:xfrm>
            <a:custGeom>
              <a:avLst/>
              <a:gdLst>
                <a:gd name="connsiteX0" fmla="*/ 0 w 289634"/>
                <a:gd name="connsiteY0" fmla="*/ 186916 h 292179"/>
                <a:gd name="connsiteX1" fmla="*/ 36972 w 289634"/>
                <a:gd name="connsiteY1" fmla="*/ 146237 h 292179"/>
                <a:gd name="connsiteX2" fmla="*/ 122914 w 289634"/>
                <a:gd name="connsiteY2" fmla="*/ 68128 h 292179"/>
                <a:gd name="connsiteX3" fmla="*/ 214019 w 289634"/>
                <a:gd name="connsiteY3" fmla="*/ 0 h 292179"/>
                <a:gd name="connsiteX4" fmla="*/ 246440 w 289634"/>
                <a:gd name="connsiteY4" fmla="*/ 88581 h 292179"/>
                <a:gd name="connsiteX5" fmla="*/ 276262 w 289634"/>
                <a:gd name="connsiteY5" fmla="*/ 204561 h 292179"/>
                <a:gd name="connsiteX6" fmla="*/ 289634 w 289634"/>
                <a:gd name="connsiteY6" fmla="*/ 292179 h 292179"/>
                <a:gd name="connsiteX7" fmla="*/ 206443 w 289634"/>
                <a:gd name="connsiteY7" fmla="*/ 252105 h 292179"/>
                <a:gd name="connsiteX8" fmla="*/ 95254 w 289634"/>
                <a:gd name="connsiteY8" fmla="*/ 211409 h 292179"/>
                <a:gd name="connsiteX9" fmla="*/ 0 w 289634"/>
                <a:gd name="connsiteY9" fmla="*/ 186916 h 29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34" h="292179">
                  <a:moveTo>
                    <a:pt x="0" y="186916"/>
                  </a:moveTo>
                  <a:lnTo>
                    <a:pt x="36972" y="146237"/>
                  </a:lnTo>
                  <a:cubicBezTo>
                    <a:pt x="64348" y="118861"/>
                    <a:pt x="93029" y="92791"/>
                    <a:pt x="122914" y="68128"/>
                  </a:cubicBezTo>
                  <a:lnTo>
                    <a:pt x="214019" y="0"/>
                  </a:lnTo>
                  <a:lnTo>
                    <a:pt x="246440" y="88581"/>
                  </a:lnTo>
                  <a:cubicBezTo>
                    <a:pt x="258227" y="126476"/>
                    <a:pt x="268201" y="165170"/>
                    <a:pt x="276262" y="204561"/>
                  </a:cubicBezTo>
                  <a:lnTo>
                    <a:pt x="289634" y="292179"/>
                  </a:lnTo>
                  <a:lnTo>
                    <a:pt x="206443" y="252105"/>
                  </a:lnTo>
                  <a:cubicBezTo>
                    <a:pt x="170246" y="236794"/>
                    <a:pt x="133149" y="223195"/>
                    <a:pt x="95254" y="211409"/>
                  </a:cubicBezTo>
                  <a:lnTo>
                    <a:pt x="0" y="186916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7" name="Freeform: Shape 101">
              <a:extLst>
                <a:ext uri="{FF2B5EF4-FFF2-40B4-BE49-F238E27FC236}">
                  <a16:creationId xmlns:a16="http://schemas.microsoft.com/office/drawing/2014/main" id="{7F0C4284-430E-40FD-3E5B-B57DA76D4818}"/>
                </a:ext>
              </a:extLst>
            </p:cNvPr>
            <p:cNvSpPr/>
            <p:nvPr/>
          </p:nvSpPr>
          <p:spPr>
            <a:xfrm rot="5400000">
              <a:off x="5596457" y="3144373"/>
              <a:ext cx="323540" cy="326384"/>
            </a:xfrm>
            <a:custGeom>
              <a:avLst/>
              <a:gdLst>
                <a:gd name="connsiteX0" fmla="*/ 0 w 289631"/>
                <a:gd name="connsiteY0" fmla="*/ 105262 h 292177"/>
                <a:gd name="connsiteX1" fmla="*/ 95251 w 289631"/>
                <a:gd name="connsiteY1" fmla="*/ 80771 h 292177"/>
                <a:gd name="connsiteX2" fmla="*/ 206440 w 289631"/>
                <a:gd name="connsiteY2" fmla="*/ 40075 h 292177"/>
                <a:gd name="connsiteX3" fmla="*/ 289631 w 289631"/>
                <a:gd name="connsiteY3" fmla="*/ 0 h 292177"/>
                <a:gd name="connsiteX4" fmla="*/ 276259 w 289631"/>
                <a:gd name="connsiteY4" fmla="*/ 87620 h 292177"/>
                <a:gd name="connsiteX5" fmla="*/ 246437 w 289631"/>
                <a:gd name="connsiteY5" fmla="*/ 203600 h 292177"/>
                <a:gd name="connsiteX6" fmla="*/ 214018 w 289631"/>
                <a:gd name="connsiteY6" fmla="*/ 292177 h 292177"/>
                <a:gd name="connsiteX7" fmla="*/ 122914 w 289631"/>
                <a:gd name="connsiteY7" fmla="*/ 224050 h 292177"/>
                <a:gd name="connsiteX8" fmla="*/ 36972 w 289631"/>
                <a:gd name="connsiteY8" fmla="*/ 145941 h 292177"/>
                <a:gd name="connsiteX9" fmla="*/ 0 w 289631"/>
                <a:gd name="connsiteY9" fmla="*/ 105262 h 2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31" h="292177">
                  <a:moveTo>
                    <a:pt x="0" y="105262"/>
                  </a:moveTo>
                  <a:lnTo>
                    <a:pt x="95251" y="80771"/>
                  </a:lnTo>
                  <a:cubicBezTo>
                    <a:pt x="133146" y="68984"/>
                    <a:pt x="170243" y="55385"/>
                    <a:pt x="206440" y="40075"/>
                  </a:cubicBezTo>
                  <a:lnTo>
                    <a:pt x="289631" y="0"/>
                  </a:lnTo>
                  <a:lnTo>
                    <a:pt x="276259" y="87620"/>
                  </a:lnTo>
                  <a:cubicBezTo>
                    <a:pt x="268198" y="127011"/>
                    <a:pt x="258224" y="165705"/>
                    <a:pt x="246437" y="203600"/>
                  </a:cubicBezTo>
                  <a:lnTo>
                    <a:pt x="214018" y="292177"/>
                  </a:lnTo>
                  <a:lnTo>
                    <a:pt x="122914" y="224050"/>
                  </a:lnTo>
                  <a:cubicBezTo>
                    <a:pt x="93028" y="199386"/>
                    <a:pt x="64347" y="173316"/>
                    <a:pt x="36972" y="145941"/>
                  </a:cubicBezTo>
                  <a:lnTo>
                    <a:pt x="0" y="105262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8" name="Freeform: Shape 102">
              <a:extLst>
                <a:ext uri="{FF2B5EF4-FFF2-40B4-BE49-F238E27FC236}">
                  <a16:creationId xmlns:a16="http://schemas.microsoft.com/office/drawing/2014/main" id="{18337CBF-4CA6-FE6E-E22E-10C0E2409671}"/>
                </a:ext>
              </a:extLst>
            </p:cNvPr>
            <p:cNvSpPr/>
            <p:nvPr/>
          </p:nvSpPr>
          <p:spPr>
            <a:xfrm rot="5400000">
              <a:off x="5966322" y="3424431"/>
              <a:ext cx="259350" cy="349156"/>
            </a:xfrm>
            <a:custGeom>
              <a:avLst/>
              <a:gdLst>
                <a:gd name="connsiteX0" fmla="*/ 0 w 232168"/>
                <a:gd name="connsiteY0" fmla="*/ 0 h 312562"/>
                <a:gd name="connsiteX1" fmla="*/ 22599 w 232168"/>
                <a:gd name="connsiteY1" fmla="*/ 10887 h 312562"/>
                <a:gd name="connsiteX2" fmla="*/ 215546 w 232168"/>
                <a:gd name="connsiteY2" fmla="*/ 141175 h 312562"/>
                <a:gd name="connsiteX3" fmla="*/ 232168 w 232168"/>
                <a:gd name="connsiteY3" fmla="*/ 156281 h 312562"/>
                <a:gd name="connsiteX4" fmla="*/ 215546 w 232168"/>
                <a:gd name="connsiteY4" fmla="*/ 171388 h 312562"/>
                <a:gd name="connsiteX5" fmla="*/ 22599 w 232168"/>
                <a:gd name="connsiteY5" fmla="*/ 301676 h 312562"/>
                <a:gd name="connsiteX6" fmla="*/ 0 w 232168"/>
                <a:gd name="connsiteY6" fmla="*/ 312562 h 312562"/>
                <a:gd name="connsiteX7" fmla="*/ 4967 w 232168"/>
                <a:gd name="connsiteY7" fmla="*/ 280019 h 312562"/>
                <a:gd name="connsiteX8" fmla="*/ 11215 w 232168"/>
                <a:gd name="connsiteY8" fmla="*/ 156282 h 312562"/>
                <a:gd name="connsiteX9" fmla="*/ 4967 w 232168"/>
                <a:gd name="connsiteY9" fmla="*/ 32545 h 312562"/>
                <a:gd name="connsiteX10" fmla="*/ 0 w 232168"/>
                <a:gd name="connsiteY10" fmla="*/ 0 h 31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168" h="312562">
                  <a:moveTo>
                    <a:pt x="0" y="0"/>
                  </a:moveTo>
                  <a:lnTo>
                    <a:pt x="22599" y="10887"/>
                  </a:lnTo>
                  <a:cubicBezTo>
                    <a:pt x="91190" y="48148"/>
                    <a:pt x="155777" y="91848"/>
                    <a:pt x="215546" y="141175"/>
                  </a:cubicBezTo>
                  <a:lnTo>
                    <a:pt x="232168" y="156281"/>
                  </a:lnTo>
                  <a:lnTo>
                    <a:pt x="215546" y="171388"/>
                  </a:lnTo>
                  <a:cubicBezTo>
                    <a:pt x="155777" y="220715"/>
                    <a:pt x="91190" y="264414"/>
                    <a:pt x="22599" y="301676"/>
                  </a:cubicBezTo>
                  <a:lnTo>
                    <a:pt x="0" y="312562"/>
                  </a:lnTo>
                  <a:lnTo>
                    <a:pt x="4967" y="280019"/>
                  </a:lnTo>
                  <a:cubicBezTo>
                    <a:pt x="9098" y="239335"/>
                    <a:pt x="11215" y="198056"/>
                    <a:pt x="11215" y="156282"/>
                  </a:cubicBezTo>
                  <a:cubicBezTo>
                    <a:pt x="11215" y="114508"/>
                    <a:pt x="9098" y="73228"/>
                    <a:pt x="4967" y="3254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29" name="Freeform: Shape 103">
              <a:extLst>
                <a:ext uri="{FF2B5EF4-FFF2-40B4-BE49-F238E27FC236}">
                  <a16:creationId xmlns:a16="http://schemas.microsoft.com/office/drawing/2014/main" id="{C84CC210-F006-5C55-6713-E88920F63C58}"/>
                </a:ext>
              </a:extLst>
            </p:cNvPr>
            <p:cNvSpPr/>
            <p:nvPr/>
          </p:nvSpPr>
          <p:spPr>
            <a:xfrm rot="5400000">
              <a:off x="5288179" y="3804248"/>
              <a:ext cx="1615637" cy="1464509"/>
            </a:xfrm>
            <a:custGeom>
              <a:avLst/>
              <a:gdLst>
                <a:gd name="connsiteX0" fmla="*/ 0 w 1446307"/>
                <a:gd name="connsiteY0" fmla="*/ 655510 h 1311018"/>
                <a:gd name="connsiteX1" fmla="*/ 69320 w 1446307"/>
                <a:gd name="connsiteY1" fmla="*/ 592508 h 1311018"/>
                <a:gd name="connsiteX2" fmla="*/ 369374 w 1446307"/>
                <a:gd name="connsiteY2" fmla="*/ 96638 h 1311018"/>
                <a:gd name="connsiteX3" fmla="*/ 394223 w 1446307"/>
                <a:gd name="connsiteY3" fmla="*/ 0 h 1311018"/>
                <a:gd name="connsiteX4" fmla="*/ 494657 w 1446307"/>
                <a:gd name="connsiteY4" fmla="*/ 5072 h 1311018"/>
                <a:gd name="connsiteX5" fmla="*/ 1435068 w 1446307"/>
                <a:gd name="connsiteY5" fmla="*/ 632178 h 1311018"/>
                <a:gd name="connsiteX6" fmla="*/ 1446307 w 1446307"/>
                <a:gd name="connsiteY6" fmla="*/ 655508 h 1311018"/>
                <a:gd name="connsiteX7" fmla="*/ 1435067 w 1446307"/>
                <a:gd name="connsiteY7" fmla="*/ 678841 h 1311018"/>
                <a:gd name="connsiteX8" fmla="*/ 494658 w 1446307"/>
                <a:gd name="connsiteY8" fmla="*/ 1305947 h 1311018"/>
                <a:gd name="connsiteX9" fmla="*/ 394222 w 1446307"/>
                <a:gd name="connsiteY9" fmla="*/ 1311018 h 1311018"/>
                <a:gd name="connsiteX10" fmla="*/ 369374 w 1446307"/>
                <a:gd name="connsiteY10" fmla="*/ 1214383 h 1311018"/>
                <a:gd name="connsiteX11" fmla="*/ 69320 w 1446307"/>
                <a:gd name="connsiteY11" fmla="*/ 718513 h 1311018"/>
                <a:gd name="connsiteX12" fmla="*/ 0 w 1446307"/>
                <a:gd name="connsiteY12" fmla="*/ 655510 h 1311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46307" h="1311018">
                  <a:moveTo>
                    <a:pt x="0" y="655510"/>
                  </a:moveTo>
                  <a:lnTo>
                    <a:pt x="69320" y="592508"/>
                  </a:lnTo>
                  <a:cubicBezTo>
                    <a:pt x="206199" y="455629"/>
                    <a:pt x="310441" y="286115"/>
                    <a:pt x="369374" y="96638"/>
                  </a:cubicBezTo>
                  <a:lnTo>
                    <a:pt x="394223" y="0"/>
                  </a:lnTo>
                  <a:lnTo>
                    <a:pt x="494657" y="5072"/>
                  </a:lnTo>
                  <a:cubicBezTo>
                    <a:pt x="901496" y="46389"/>
                    <a:pt x="1248762" y="289219"/>
                    <a:pt x="1435068" y="632178"/>
                  </a:cubicBezTo>
                  <a:lnTo>
                    <a:pt x="1446307" y="655508"/>
                  </a:lnTo>
                  <a:lnTo>
                    <a:pt x="1435067" y="678841"/>
                  </a:lnTo>
                  <a:cubicBezTo>
                    <a:pt x="1248761" y="1021799"/>
                    <a:pt x="901496" y="1264630"/>
                    <a:pt x="494658" y="1305947"/>
                  </a:cubicBezTo>
                  <a:lnTo>
                    <a:pt x="394222" y="1311018"/>
                  </a:lnTo>
                  <a:lnTo>
                    <a:pt x="369374" y="1214383"/>
                  </a:lnTo>
                  <a:cubicBezTo>
                    <a:pt x="310441" y="1024906"/>
                    <a:pt x="206199" y="855391"/>
                    <a:pt x="69320" y="718513"/>
                  </a:cubicBezTo>
                  <a:lnTo>
                    <a:pt x="0" y="655510"/>
                  </a:lnTo>
                  <a:close/>
                </a:path>
              </a:pathLst>
            </a:custGeom>
            <a:solidFill>
              <a:srgbClr val="7F7F7F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0" name="Freeform: Shape 104">
              <a:extLst>
                <a:ext uri="{FF2B5EF4-FFF2-40B4-BE49-F238E27FC236}">
                  <a16:creationId xmlns:a16="http://schemas.microsoft.com/office/drawing/2014/main" id="{CC6A58C9-A0F6-1BB6-8F57-A6A446236A90}"/>
                </a:ext>
              </a:extLst>
            </p:cNvPr>
            <p:cNvSpPr/>
            <p:nvPr/>
          </p:nvSpPr>
          <p:spPr>
            <a:xfrm rot="5400000">
              <a:off x="5499186" y="173975"/>
              <a:ext cx="1193621" cy="2401791"/>
            </a:xfrm>
            <a:custGeom>
              <a:avLst/>
              <a:gdLst>
                <a:gd name="connsiteX0" fmla="*/ 0 w 1068521"/>
                <a:gd name="connsiteY0" fmla="*/ 1075033 h 2150066"/>
                <a:gd name="connsiteX1" fmla="*/ 633353 w 1068521"/>
                <a:gd name="connsiteY1" fmla="*/ 10886 h 2150066"/>
                <a:gd name="connsiteX2" fmla="*/ 655952 w 1068521"/>
                <a:gd name="connsiteY2" fmla="*/ 0 h 2150066"/>
                <a:gd name="connsiteX3" fmla="*/ 650985 w 1068521"/>
                <a:gd name="connsiteY3" fmla="*/ 32543 h 2150066"/>
                <a:gd name="connsiteX4" fmla="*/ 644737 w 1068521"/>
                <a:gd name="connsiteY4" fmla="*/ 156280 h 2150066"/>
                <a:gd name="connsiteX5" fmla="*/ 999200 w 1068521"/>
                <a:gd name="connsiteY5" fmla="*/ 1012030 h 2150066"/>
                <a:gd name="connsiteX6" fmla="*/ 1068521 w 1068521"/>
                <a:gd name="connsiteY6" fmla="*/ 1075032 h 2150066"/>
                <a:gd name="connsiteX7" fmla="*/ 999200 w 1068521"/>
                <a:gd name="connsiteY7" fmla="*/ 1138035 h 2150066"/>
                <a:gd name="connsiteX8" fmla="*/ 644737 w 1068521"/>
                <a:gd name="connsiteY8" fmla="*/ 1993785 h 2150066"/>
                <a:gd name="connsiteX9" fmla="*/ 650985 w 1068521"/>
                <a:gd name="connsiteY9" fmla="*/ 2117522 h 2150066"/>
                <a:gd name="connsiteX10" fmla="*/ 655952 w 1068521"/>
                <a:gd name="connsiteY10" fmla="*/ 2150066 h 2150066"/>
                <a:gd name="connsiteX11" fmla="*/ 633353 w 1068521"/>
                <a:gd name="connsiteY11" fmla="*/ 2139180 h 2150066"/>
                <a:gd name="connsiteX12" fmla="*/ 0 w 1068521"/>
                <a:gd name="connsiteY12" fmla="*/ 1075033 h 215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8521" h="2150066">
                  <a:moveTo>
                    <a:pt x="0" y="1075033"/>
                  </a:moveTo>
                  <a:cubicBezTo>
                    <a:pt x="0" y="615520"/>
                    <a:pt x="256100" y="215823"/>
                    <a:pt x="633353" y="10886"/>
                  </a:cubicBezTo>
                  <a:lnTo>
                    <a:pt x="655952" y="0"/>
                  </a:lnTo>
                  <a:lnTo>
                    <a:pt x="650985" y="32543"/>
                  </a:lnTo>
                  <a:cubicBezTo>
                    <a:pt x="646854" y="73226"/>
                    <a:pt x="644737" y="114506"/>
                    <a:pt x="644737" y="156280"/>
                  </a:cubicBezTo>
                  <a:cubicBezTo>
                    <a:pt x="644737" y="490471"/>
                    <a:pt x="780195" y="793024"/>
                    <a:pt x="999200" y="1012030"/>
                  </a:cubicBezTo>
                  <a:lnTo>
                    <a:pt x="1068521" y="1075032"/>
                  </a:lnTo>
                  <a:lnTo>
                    <a:pt x="999200" y="1138035"/>
                  </a:lnTo>
                  <a:cubicBezTo>
                    <a:pt x="780195" y="1357041"/>
                    <a:pt x="644737" y="1659594"/>
                    <a:pt x="644737" y="1993785"/>
                  </a:cubicBezTo>
                  <a:cubicBezTo>
                    <a:pt x="644737" y="2035559"/>
                    <a:pt x="646854" y="2076838"/>
                    <a:pt x="650985" y="2117522"/>
                  </a:cubicBezTo>
                  <a:lnTo>
                    <a:pt x="655952" y="2150066"/>
                  </a:lnTo>
                  <a:lnTo>
                    <a:pt x="633353" y="2139180"/>
                  </a:lnTo>
                  <a:cubicBezTo>
                    <a:pt x="256100" y="1934243"/>
                    <a:pt x="0" y="1534545"/>
                    <a:pt x="0" y="1075033"/>
                  </a:cubicBezTo>
                  <a:close/>
                </a:path>
              </a:pathLst>
            </a:custGeom>
            <a:solidFill>
              <a:srgbClr val="F7F7F7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1" name="Freeform: Shape 105">
              <a:extLst>
                <a:ext uri="{FF2B5EF4-FFF2-40B4-BE49-F238E27FC236}">
                  <a16:creationId xmlns:a16="http://schemas.microsoft.com/office/drawing/2014/main" id="{EA778510-1154-9160-D7A5-4F548089BD06}"/>
                </a:ext>
              </a:extLst>
            </p:cNvPr>
            <p:cNvSpPr/>
            <p:nvPr/>
          </p:nvSpPr>
          <p:spPr>
            <a:xfrm rot="5400000">
              <a:off x="6676449" y="2049652"/>
              <a:ext cx="2336612" cy="1258925"/>
            </a:xfrm>
            <a:custGeom>
              <a:avLst/>
              <a:gdLst>
                <a:gd name="connsiteX0" fmla="*/ 0 w 2091718"/>
                <a:gd name="connsiteY0" fmla="*/ 1053934 h 1126981"/>
                <a:gd name="connsiteX1" fmla="*/ 13372 w 2091718"/>
                <a:gd name="connsiteY1" fmla="*/ 966314 h 1126981"/>
                <a:gd name="connsiteX2" fmla="*/ 1198998 w 2091718"/>
                <a:gd name="connsiteY2" fmla="*/ 0 h 1126981"/>
                <a:gd name="connsiteX3" fmla="*/ 2054747 w 2091718"/>
                <a:gd name="connsiteY3" fmla="*/ 354463 h 1126981"/>
                <a:gd name="connsiteX4" fmla="*/ 2091718 w 2091718"/>
                <a:gd name="connsiteY4" fmla="*/ 395142 h 1126981"/>
                <a:gd name="connsiteX5" fmla="*/ 1996468 w 2091718"/>
                <a:gd name="connsiteY5" fmla="*/ 419634 h 1126981"/>
                <a:gd name="connsiteX6" fmla="*/ 1241240 w 2091718"/>
                <a:gd name="connsiteY6" fmla="*/ 1104369 h 1126981"/>
                <a:gd name="connsiteX7" fmla="*/ 1232964 w 2091718"/>
                <a:gd name="connsiteY7" fmla="*/ 1126981 h 1126981"/>
                <a:gd name="connsiteX8" fmla="*/ 1230902 w 2091718"/>
                <a:gd name="connsiteY8" fmla="*/ 1125439 h 1126981"/>
                <a:gd name="connsiteX9" fmla="*/ 554260 w 2091718"/>
                <a:gd name="connsiteY9" fmla="*/ 918754 h 1126981"/>
                <a:gd name="connsiteX10" fmla="*/ 83191 w 2091718"/>
                <a:gd name="connsiteY10" fmla="*/ 1013859 h 1126981"/>
                <a:gd name="connsiteX11" fmla="*/ 0 w 2091718"/>
                <a:gd name="connsiteY11" fmla="*/ 1053934 h 1126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718" h="1126981">
                  <a:moveTo>
                    <a:pt x="0" y="1053934"/>
                  </a:moveTo>
                  <a:lnTo>
                    <a:pt x="13372" y="966314"/>
                  </a:lnTo>
                  <a:cubicBezTo>
                    <a:pt x="126220" y="414840"/>
                    <a:pt x="614163" y="0"/>
                    <a:pt x="1198998" y="0"/>
                  </a:cubicBezTo>
                  <a:cubicBezTo>
                    <a:pt x="1533189" y="0"/>
                    <a:pt x="1835742" y="135458"/>
                    <a:pt x="2054747" y="354463"/>
                  </a:cubicBezTo>
                  <a:lnTo>
                    <a:pt x="2091718" y="395142"/>
                  </a:lnTo>
                  <a:lnTo>
                    <a:pt x="1996468" y="419634"/>
                  </a:lnTo>
                  <a:cubicBezTo>
                    <a:pt x="1655409" y="525714"/>
                    <a:pt x="1379030" y="778596"/>
                    <a:pt x="1241240" y="1104369"/>
                  </a:cubicBezTo>
                  <a:lnTo>
                    <a:pt x="1232964" y="1126981"/>
                  </a:lnTo>
                  <a:lnTo>
                    <a:pt x="1230902" y="1125439"/>
                  </a:lnTo>
                  <a:cubicBezTo>
                    <a:pt x="1037750" y="994949"/>
                    <a:pt x="804904" y="918754"/>
                    <a:pt x="554260" y="918754"/>
                  </a:cubicBezTo>
                  <a:cubicBezTo>
                    <a:pt x="387165" y="918754"/>
                    <a:pt x="227979" y="952618"/>
                    <a:pt x="83191" y="1013859"/>
                  </a:cubicBezTo>
                  <a:lnTo>
                    <a:pt x="0" y="1053934"/>
                  </a:lnTo>
                  <a:close/>
                </a:path>
              </a:pathLst>
            </a:custGeom>
            <a:solidFill>
              <a:srgbClr val="F7F7F7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2" name="Freeform: Shape 106">
              <a:extLst>
                <a:ext uri="{FF2B5EF4-FFF2-40B4-BE49-F238E27FC236}">
                  <a16:creationId xmlns:a16="http://schemas.microsoft.com/office/drawing/2014/main" id="{31C3D46B-456B-6D71-BB4A-E1CF88836AA7}"/>
                </a:ext>
              </a:extLst>
            </p:cNvPr>
            <p:cNvSpPr/>
            <p:nvPr/>
          </p:nvSpPr>
          <p:spPr>
            <a:xfrm rot="5400000">
              <a:off x="3178932" y="2049653"/>
              <a:ext cx="2336610" cy="1258922"/>
            </a:xfrm>
            <a:custGeom>
              <a:avLst/>
              <a:gdLst>
                <a:gd name="connsiteX0" fmla="*/ 0 w 2091717"/>
                <a:gd name="connsiteY0" fmla="*/ 73046 h 1126978"/>
                <a:gd name="connsiteX1" fmla="*/ 83191 w 2091717"/>
                <a:gd name="connsiteY1" fmla="*/ 113121 h 1126978"/>
                <a:gd name="connsiteX2" fmla="*/ 554260 w 2091717"/>
                <a:gd name="connsiteY2" fmla="*/ 208226 h 1126978"/>
                <a:gd name="connsiteX3" fmla="*/ 1230902 w 2091717"/>
                <a:gd name="connsiteY3" fmla="*/ 1541 h 1126978"/>
                <a:gd name="connsiteX4" fmla="*/ 1232962 w 2091717"/>
                <a:gd name="connsiteY4" fmla="*/ 0 h 1126978"/>
                <a:gd name="connsiteX5" fmla="*/ 1241238 w 2091717"/>
                <a:gd name="connsiteY5" fmla="*/ 22610 h 1126978"/>
                <a:gd name="connsiteX6" fmla="*/ 1996465 w 2091717"/>
                <a:gd name="connsiteY6" fmla="*/ 707345 h 1126978"/>
                <a:gd name="connsiteX7" fmla="*/ 2091717 w 2091717"/>
                <a:gd name="connsiteY7" fmla="*/ 731837 h 1126978"/>
                <a:gd name="connsiteX8" fmla="*/ 2054746 w 2091717"/>
                <a:gd name="connsiteY8" fmla="*/ 772515 h 1126978"/>
                <a:gd name="connsiteX9" fmla="*/ 1198998 w 2091717"/>
                <a:gd name="connsiteY9" fmla="*/ 1126978 h 1126978"/>
                <a:gd name="connsiteX10" fmla="*/ 13372 w 2091717"/>
                <a:gd name="connsiteY10" fmla="*/ 160665 h 1126978"/>
                <a:gd name="connsiteX11" fmla="*/ 0 w 2091717"/>
                <a:gd name="connsiteY11" fmla="*/ 73046 h 1126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1717" h="1126978">
                  <a:moveTo>
                    <a:pt x="0" y="73046"/>
                  </a:moveTo>
                  <a:lnTo>
                    <a:pt x="83191" y="113121"/>
                  </a:lnTo>
                  <a:cubicBezTo>
                    <a:pt x="227979" y="174361"/>
                    <a:pt x="387165" y="208226"/>
                    <a:pt x="554260" y="208226"/>
                  </a:cubicBezTo>
                  <a:cubicBezTo>
                    <a:pt x="804904" y="208226"/>
                    <a:pt x="1037750" y="132031"/>
                    <a:pt x="1230902" y="1541"/>
                  </a:cubicBezTo>
                  <a:lnTo>
                    <a:pt x="1232962" y="0"/>
                  </a:lnTo>
                  <a:lnTo>
                    <a:pt x="1241238" y="22610"/>
                  </a:lnTo>
                  <a:cubicBezTo>
                    <a:pt x="1379028" y="348383"/>
                    <a:pt x="1655407" y="601265"/>
                    <a:pt x="1996465" y="707345"/>
                  </a:cubicBezTo>
                  <a:lnTo>
                    <a:pt x="2091717" y="731837"/>
                  </a:lnTo>
                  <a:lnTo>
                    <a:pt x="2054746" y="772515"/>
                  </a:lnTo>
                  <a:cubicBezTo>
                    <a:pt x="1835742" y="991520"/>
                    <a:pt x="1533189" y="1126978"/>
                    <a:pt x="1198998" y="1126978"/>
                  </a:cubicBezTo>
                  <a:cubicBezTo>
                    <a:pt x="614163" y="1126978"/>
                    <a:pt x="126220" y="712138"/>
                    <a:pt x="13372" y="160665"/>
                  </a:cubicBezTo>
                  <a:lnTo>
                    <a:pt x="0" y="73046"/>
                  </a:lnTo>
                  <a:close/>
                </a:path>
              </a:pathLst>
            </a:custGeom>
            <a:solidFill>
              <a:srgbClr val="F7F7F7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3" name="Freeform: Shape 107">
              <a:extLst>
                <a:ext uri="{FF2B5EF4-FFF2-40B4-BE49-F238E27FC236}">
                  <a16:creationId xmlns:a16="http://schemas.microsoft.com/office/drawing/2014/main" id="{0874A744-C9B6-0FE3-F370-E692731FA22C}"/>
                </a:ext>
              </a:extLst>
            </p:cNvPr>
            <p:cNvSpPr/>
            <p:nvPr/>
          </p:nvSpPr>
          <p:spPr>
            <a:xfrm rot="5400000">
              <a:off x="5610966" y="2132441"/>
              <a:ext cx="970061" cy="648540"/>
            </a:xfrm>
            <a:custGeom>
              <a:avLst/>
              <a:gdLst>
                <a:gd name="connsiteX0" fmla="*/ 0 w 868392"/>
                <a:gd name="connsiteY0" fmla="*/ 290284 h 580568"/>
                <a:gd name="connsiteX1" fmla="*/ 16621 w 868392"/>
                <a:gd name="connsiteY1" fmla="*/ 275178 h 580568"/>
                <a:gd name="connsiteX2" fmla="*/ 662691 w 868392"/>
                <a:gd name="connsiteY2" fmla="*/ 5072 h 580568"/>
                <a:gd name="connsiteX3" fmla="*/ 763128 w 868392"/>
                <a:gd name="connsiteY3" fmla="*/ 0 h 580568"/>
                <a:gd name="connsiteX4" fmla="*/ 787976 w 868392"/>
                <a:gd name="connsiteY4" fmla="*/ 96636 h 580568"/>
                <a:gd name="connsiteX5" fmla="*/ 828671 w 868392"/>
                <a:gd name="connsiteY5" fmla="*/ 207825 h 580568"/>
                <a:gd name="connsiteX6" fmla="*/ 868392 w 868392"/>
                <a:gd name="connsiteY6" fmla="*/ 290280 h 580568"/>
                <a:gd name="connsiteX7" fmla="*/ 828669 w 868392"/>
                <a:gd name="connsiteY7" fmla="*/ 372742 h 580568"/>
                <a:gd name="connsiteX8" fmla="*/ 787973 w 868392"/>
                <a:gd name="connsiteY8" fmla="*/ 483931 h 580568"/>
                <a:gd name="connsiteX9" fmla="*/ 763124 w 868392"/>
                <a:gd name="connsiteY9" fmla="*/ 580568 h 580568"/>
                <a:gd name="connsiteX10" fmla="*/ 662691 w 868392"/>
                <a:gd name="connsiteY10" fmla="*/ 575497 h 580568"/>
                <a:gd name="connsiteX11" fmla="*/ 16621 w 868392"/>
                <a:gd name="connsiteY11" fmla="*/ 305391 h 580568"/>
                <a:gd name="connsiteX12" fmla="*/ 0 w 868392"/>
                <a:gd name="connsiteY12" fmla="*/ 290284 h 58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8392" h="580568">
                  <a:moveTo>
                    <a:pt x="0" y="290284"/>
                  </a:moveTo>
                  <a:lnTo>
                    <a:pt x="16621" y="275178"/>
                  </a:lnTo>
                  <a:cubicBezTo>
                    <a:pt x="195932" y="127197"/>
                    <a:pt x="418588" y="29862"/>
                    <a:pt x="662691" y="5072"/>
                  </a:cubicBezTo>
                  <a:lnTo>
                    <a:pt x="763128" y="0"/>
                  </a:lnTo>
                  <a:lnTo>
                    <a:pt x="787976" y="96636"/>
                  </a:lnTo>
                  <a:cubicBezTo>
                    <a:pt x="799762" y="134531"/>
                    <a:pt x="813361" y="171628"/>
                    <a:pt x="828671" y="207825"/>
                  </a:cubicBezTo>
                  <a:lnTo>
                    <a:pt x="868392" y="290280"/>
                  </a:lnTo>
                  <a:lnTo>
                    <a:pt x="828669" y="372742"/>
                  </a:lnTo>
                  <a:cubicBezTo>
                    <a:pt x="813358" y="408939"/>
                    <a:pt x="799759" y="446036"/>
                    <a:pt x="787973" y="483931"/>
                  </a:cubicBezTo>
                  <a:lnTo>
                    <a:pt x="763124" y="580568"/>
                  </a:lnTo>
                  <a:lnTo>
                    <a:pt x="662691" y="575497"/>
                  </a:lnTo>
                  <a:cubicBezTo>
                    <a:pt x="418588" y="550707"/>
                    <a:pt x="195932" y="453371"/>
                    <a:pt x="16621" y="305391"/>
                  </a:cubicBezTo>
                  <a:lnTo>
                    <a:pt x="0" y="290284"/>
                  </a:lnTo>
                  <a:close/>
                </a:path>
              </a:pathLst>
            </a:custGeom>
            <a:solidFill>
              <a:schemeClr val="tx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4" name="Freeform: Shape 108">
              <a:extLst>
                <a:ext uri="{FF2B5EF4-FFF2-40B4-BE49-F238E27FC236}">
                  <a16:creationId xmlns:a16="http://schemas.microsoft.com/office/drawing/2014/main" id="{20CBEE0A-48BF-8516-6FC6-66BDCDE1B5B9}"/>
                </a:ext>
              </a:extLst>
            </p:cNvPr>
            <p:cNvSpPr/>
            <p:nvPr/>
          </p:nvSpPr>
          <p:spPr>
            <a:xfrm rot="5400000">
              <a:off x="5093396" y="2674431"/>
              <a:ext cx="593741" cy="827135"/>
            </a:xfrm>
            <a:custGeom>
              <a:avLst/>
              <a:gdLst>
                <a:gd name="connsiteX0" fmla="*/ 0 w 531513"/>
                <a:gd name="connsiteY0" fmla="*/ 291985 h 740445"/>
                <a:gd name="connsiteX1" fmla="*/ 24588 w 531513"/>
                <a:gd name="connsiteY1" fmla="*/ 48085 h 740445"/>
                <a:gd name="connsiteX2" fmla="*/ 29561 w 531513"/>
                <a:gd name="connsiteY2" fmla="*/ 28741 h 740445"/>
                <a:gd name="connsiteX3" fmla="*/ 52866 w 531513"/>
                <a:gd name="connsiteY3" fmla="*/ 29918 h 740445"/>
                <a:gd name="connsiteX4" fmla="*/ 296766 w 531513"/>
                <a:gd name="connsiteY4" fmla="*/ 5331 h 740445"/>
                <a:gd name="connsiteX5" fmla="*/ 317495 w 531513"/>
                <a:gd name="connsiteY5" fmla="*/ 0 h 740445"/>
                <a:gd name="connsiteX6" fmla="*/ 354467 w 531513"/>
                <a:gd name="connsiteY6" fmla="*/ 40679 h 740445"/>
                <a:gd name="connsiteX7" fmla="*/ 440409 w 531513"/>
                <a:gd name="connsiteY7" fmla="*/ 118788 h 740445"/>
                <a:gd name="connsiteX8" fmla="*/ 531513 w 531513"/>
                <a:gd name="connsiteY8" fmla="*/ 186915 h 740445"/>
                <a:gd name="connsiteX9" fmla="*/ 523237 w 531513"/>
                <a:gd name="connsiteY9" fmla="*/ 209527 h 740445"/>
                <a:gd name="connsiteX10" fmla="*/ 177936 w 531513"/>
                <a:gd name="connsiteY10" fmla="*/ 672317 h 740445"/>
                <a:gd name="connsiteX11" fmla="*/ 86830 w 531513"/>
                <a:gd name="connsiteY11" fmla="*/ 740445 h 740445"/>
                <a:gd name="connsiteX12" fmla="*/ 54410 w 531513"/>
                <a:gd name="connsiteY12" fmla="*/ 651866 h 740445"/>
                <a:gd name="connsiteX13" fmla="*/ 0 w 531513"/>
                <a:gd name="connsiteY13" fmla="*/ 291985 h 74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1513" h="740445">
                  <a:moveTo>
                    <a:pt x="0" y="291985"/>
                  </a:moveTo>
                  <a:cubicBezTo>
                    <a:pt x="0" y="208437"/>
                    <a:pt x="8467" y="126866"/>
                    <a:pt x="24588" y="48085"/>
                  </a:cubicBezTo>
                  <a:lnTo>
                    <a:pt x="29561" y="28741"/>
                  </a:lnTo>
                  <a:lnTo>
                    <a:pt x="52866" y="29918"/>
                  </a:lnTo>
                  <a:cubicBezTo>
                    <a:pt x="136413" y="29918"/>
                    <a:pt x="217984" y="21452"/>
                    <a:pt x="296766" y="5331"/>
                  </a:cubicBezTo>
                  <a:lnTo>
                    <a:pt x="317495" y="0"/>
                  </a:lnTo>
                  <a:lnTo>
                    <a:pt x="354467" y="40679"/>
                  </a:lnTo>
                  <a:cubicBezTo>
                    <a:pt x="381842" y="68054"/>
                    <a:pt x="410523" y="94124"/>
                    <a:pt x="440409" y="118788"/>
                  </a:cubicBezTo>
                  <a:lnTo>
                    <a:pt x="531513" y="186915"/>
                  </a:lnTo>
                  <a:lnTo>
                    <a:pt x="523237" y="209527"/>
                  </a:lnTo>
                  <a:cubicBezTo>
                    <a:pt x="446686" y="390512"/>
                    <a:pt x="327362" y="549000"/>
                    <a:pt x="177936" y="672317"/>
                  </a:cubicBezTo>
                  <a:lnTo>
                    <a:pt x="86830" y="740445"/>
                  </a:lnTo>
                  <a:lnTo>
                    <a:pt x="54410" y="651866"/>
                  </a:lnTo>
                  <a:cubicBezTo>
                    <a:pt x="19049" y="538179"/>
                    <a:pt x="0" y="417307"/>
                    <a:pt x="0" y="291985"/>
                  </a:cubicBezTo>
                  <a:close/>
                </a:path>
              </a:pathLst>
            </a:custGeom>
            <a:solidFill>
              <a:schemeClr val="tx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5" name="Freeform: Shape 109">
              <a:extLst>
                <a:ext uri="{FF2B5EF4-FFF2-40B4-BE49-F238E27FC236}">
                  <a16:creationId xmlns:a16="http://schemas.microsoft.com/office/drawing/2014/main" id="{3CA26A2C-FBCF-BB35-DCE0-094000AD5E03}"/>
                </a:ext>
              </a:extLst>
            </p:cNvPr>
            <p:cNvSpPr/>
            <p:nvPr/>
          </p:nvSpPr>
          <p:spPr>
            <a:xfrm rot="5400000">
              <a:off x="6504860" y="2674435"/>
              <a:ext cx="593735" cy="827130"/>
            </a:xfrm>
            <a:custGeom>
              <a:avLst/>
              <a:gdLst>
                <a:gd name="connsiteX0" fmla="*/ 0 w 531507"/>
                <a:gd name="connsiteY0" fmla="*/ 448457 h 740441"/>
                <a:gd name="connsiteX1" fmla="*/ 54409 w 531507"/>
                <a:gd name="connsiteY1" fmla="*/ 88577 h 740441"/>
                <a:gd name="connsiteX2" fmla="*/ 86828 w 531507"/>
                <a:gd name="connsiteY2" fmla="*/ 0 h 740441"/>
                <a:gd name="connsiteX3" fmla="*/ 177932 w 531507"/>
                <a:gd name="connsiteY3" fmla="*/ 68127 h 740441"/>
                <a:gd name="connsiteX4" fmla="*/ 523233 w 531507"/>
                <a:gd name="connsiteY4" fmla="*/ 530917 h 740441"/>
                <a:gd name="connsiteX5" fmla="*/ 531507 w 531507"/>
                <a:gd name="connsiteY5" fmla="*/ 553525 h 740441"/>
                <a:gd name="connsiteX6" fmla="*/ 440402 w 531507"/>
                <a:gd name="connsiteY6" fmla="*/ 621653 h 740441"/>
                <a:gd name="connsiteX7" fmla="*/ 354460 w 531507"/>
                <a:gd name="connsiteY7" fmla="*/ 699762 h 740441"/>
                <a:gd name="connsiteX8" fmla="*/ 317488 w 531507"/>
                <a:gd name="connsiteY8" fmla="*/ 740441 h 740441"/>
                <a:gd name="connsiteX9" fmla="*/ 296762 w 531507"/>
                <a:gd name="connsiteY9" fmla="*/ 735112 h 740441"/>
                <a:gd name="connsiteX10" fmla="*/ 52862 w 531507"/>
                <a:gd name="connsiteY10" fmla="*/ 710525 h 740441"/>
                <a:gd name="connsiteX11" fmla="*/ 29561 w 531507"/>
                <a:gd name="connsiteY11" fmla="*/ 711701 h 740441"/>
                <a:gd name="connsiteX12" fmla="*/ 24587 w 531507"/>
                <a:gd name="connsiteY12" fmla="*/ 692357 h 740441"/>
                <a:gd name="connsiteX13" fmla="*/ 0 w 531507"/>
                <a:gd name="connsiteY13" fmla="*/ 448457 h 74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1507" h="740441">
                  <a:moveTo>
                    <a:pt x="0" y="448457"/>
                  </a:moveTo>
                  <a:cubicBezTo>
                    <a:pt x="0" y="323135"/>
                    <a:pt x="19048" y="202263"/>
                    <a:pt x="54409" y="88577"/>
                  </a:cubicBezTo>
                  <a:lnTo>
                    <a:pt x="86828" y="0"/>
                  </a:lnTo>
                  <a:lnTo>
                    <a:pt x="177932" y="68127"/>
                  </a:lnTo>
                  <a:cubicBezTo>
                    <a:pt x="327358" y="191444"/>
                    <a:pt x="446682" y="349931"/>
                    <a:pt x="523233" y="530917"/>
                  </a:cubicBezTo>
                  <a:lnTo>
                    <a:pt x="531507" y="553525"/>
                  </a:lnTo>
                  <a:lnTo>
                    <a:pt x="440402" y="621653"/>
                  </a:lnTo>
                  <a:cubicBezTo>
                    <a:pt x="410517" y="646316"/>
                    <a:pt x="381836" y="672386"/>
                    <a:pt x="354460" y="699762"/>
                  </a:cubicBezTo>
                  <a:lnTo>
                    <a:pt x="317488" y="740441"/>
                  </a:lnTo>
                  <a:lnTo>
                    <a:pt x="296762" y="735112"/>
                  </a:lnTo>
                  <a:cubicBezTo>
                    <a:pt x="217980" y="718991"/>
                    <a:pt x="136409" y="710525"/>
                    <a:pt x="52862" y="710525"/>
                  </a:cubicBezTo>
                  <a:lnTo>
                    <a:pt x="29561" y="711701"/>
                  </a:lnTo>
                  <a:lnTo>
                    <a:pt x="24587" y="692357"/>
                  </a:lnTo>
                  <a:cubicBezTo>
                    <a:pt x="8466" y="613575"/>
                    <a:pt x="0" y="532005"/>
                    <a:pt x="0" y="448457"/>
                  </a:cubicBezTo>
                  <a:close/>
                </a:path>
              </a:pathLst>
            </a:custGeom>
            <a:solidFill>
              <a:schemeClr val="tx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6" name="Freeform: Shape 110">
              <a:extLst>
                <a:ext uri="{FF2B5EF4-FFF2-40B4-BE49-F238E27FC236}">
                  <a16:creationId xmlns:a16="http://schemas.microsoft.com/office/drawing/2014/main" id="{5D87BB6B-63AD-1061-9D94-032F6C8CE03E}"/>
                </a:ext>
              </a:extLst>
            </p:cNvPr>
            <p:cNvSpPr/>
            <p:nvPr/>
          </p:nvSpPr>
          <p:spPr>
            <a:xfrm rot="5400000">
              <a:off x="5825937" y="2919638"/>
              <a:ext cx="540120" cy="584329"/>
            </a:xfrm>
            <a:custGeom>
              <a:avLst/>
              <a:gdLst>
                <a:gd name="connsiteX0" fmla="*/ 0 w 483512"/>
                <a:gd name="connsiteY0" fmla="*/ 261540 h 523087"/>
                <a:gd name="connsiteX1" fmla="*/ 11238 w 483512"/>
                <a:gd name="connsiteY1" fmla="*/ 238212 h 523087"/>
                <a:gd name="connsiteX2" fmla="*/ 141526 w 483512"/>
                <a:gd name="connsiteY2" fmla="*/ 45263 h 523087"/>
                <a:gd name="connsiteX3" fmla="*/ 182663 w 483512"/>
                <a:gd name="connsiteY3" fmla="*/ 0 h 523087"/>
                <a:gd name="connsiteX4" fmla="*/ 277917 w 483512"/>
                <a:gd name="connsiteY4" fmla="*/ 24493 h 523087"/>
                <a:gd name="connsiteX5" fmla="*/ 389106 w 483512"/>
                <a:gd name="connsiteY5" fmla="*/ 65189 h 523087"/>
                <a:gd name="connsiteX6" fmla="*/ 472297 w 483512"/>
                <a:gd name="connsiteY6" fmla="*/ 105263 h 523087"/>
                <a:gd name="connsiteX7" fmla="*/ 477264 w 483512"/>
                <a:gd name="connsiteY7" fmla="*/ 137808 h 523087"/>
                <a:gd name="connsiteX8" fmla="*/ 483512 w 483512"/>
                <a:gd name="connsiteY8" fmla="*/ 261545 h 523087"/>
                <a:gd name="connsiteX9" fmla="*/ 477264 w 483512"/>
                <a:gd name="connsiteY9" fmla="*/ 385282 h 523087"/>
                <a:gd name="connsiteX10" fmla="*/ 472297 w 483512"/>
                <a:gd name="connsiteY10" fmla="*/ 417825 h 523087"/>
                <a:gd name="connsiteX11" fmla="*/ 389106 w 483512"/>
                <a:gd name="connsiteY11" fmla="*/ 457900 h 523087"/>
                <a:gd name="connsiteX12" fmla="*/ 277917 w 483512"/>
                <a:gd name="connsiteY12" fmla="*/ 498596 h 523087"/>
                <a:gd name="connsiteX13" fmla="*/ 182666 w 483512"/>
                <a:gd name="connsiteY13" fmla="*/ 523087 h 523087"/>
                <a:gd name="connsiteX14" fmla="*/ 141528 w 483512"/>
                <a:gd name="connsiteY14" fmla="*/ 477824 h 523087"/>
                <a:gd name="connsiteX15" fmla="*/ 11241 w 483512"/>
                <a:gd name="connsiteY15" fmla="*/ 284875 h 523087"/>
                <a:gd name="connsiteX16" fmla="*/ 0 w 483512"/>
                <a:gd name="connsiteY16" fmla="*/ 261540 h 52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3512" h="523087">
                  <a:moveTo>
                    <a:pt x="0" y="261540"/>
                  </a:moveTo>
                  <a:lnTo>
                    <a:pt x="11238" y="238212"/>
                  </a:lnTo>
                  <a:cubicBezTo>
                    <a:pt x="48499" y="169620"/>
                    <a:pt x="92199" y="105034"/>
                    <a:pt x="141526" y="45263"/>
                  </a:cubicBezTo>
                  <a:lnTo>
                    <a:pt x="182663" y="0"/>
                  </a:lnTo>
                  <a:lnTo>
                    <a:pt x="277917" y="24493"/>
                  </a:lnTo>
                  <a:cubicBezTo>
                    <a:pt x="315812" y="36279"/>
                    <a:pt x="352909" y="49878"/>
                    <a:pt x="389106" y="65189"/>
                  </a:cubicBezTo>
                  <a:lnTo>
                    <a:pt x="472297" y="105263"/>
                  </a:lnTo>
                  <a:lnTo>
                    <a:pt x="477264" y="137808"/>
                  </a:lnTo>
                  <a:cubicBezTo>
                    <a:pt x="481395" y="178491"/>
                    <a:pt x="483512" y="219771"/>
                    <a:pt x="483512" y="261545"/>
                  </a:cubicBezTo>
                  <a:cubicBezTo>
                    <a:pt x="483512" y="303319"/>
                    <a:pt x="481395" y="344598"/>
                    <a:pt x="477264" y="385282"/>
                  </a:cubicBezTo>
                  <a:lnTo>
                    <a:pt x="472297" y="417825"/>
                  </a:lnTo>
                  <a:lnTo>
                    <a:pt x="389106" y="457900"/>
                  </a:lnTo>
                  <a:cubicBezTo>
                    <a:pt x="352909" y="473210"/>
                    <a:pt x="315812" y="486809"/>
                    <a:pt x="277917" y="498596"/>
                  </a:cubicBezTo>
                  <a:lnTo>
                    <a:pt x="182666" y="523087"/>
                  </a:lnTo>
                  <a:lnTo>
                    <a:pt x="141528" y="477824"/>
                  </a:lnTo>
                  <a:cubicBezTo>
                    <a:pt x="92201" y="418053"/>
                    <a:pt x="48502" y="353467"/>
                    <a:pt x="11241" y="284875"/>
                  </a:cubicBezTo>
                  <a:lnTo>
                    <a:pt x="0" y="261540"/>
                  </a:lnTo>
                  <a:close/>
                </a:path>
              </a:pathLst>
            </a:custGeom>
            <a:solidFill>
              <a:srgbClr val="3A5C84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7" name="Freeform: Shape 111">
              <a:extLst>
                <a:ext uri="{FF2B5EF4-FFF2-40B4-BE49-F238E27FC236}">
                  <a16:creationId xmlns:a16="http://schemas.microsoft.com/office/drawing/2014/main" id="{1F6BCD40-7059-007C-70AA-5DFB86BE6B16}"/>
                </a:ext>
              </a:extLst>
            </p:cNvPr>
            <p:cNvSpPr/>
            <p:nvPr/>
          </p:nvSpPr>
          <p:spPr>
            <a:xfrm rot="5400000">
              <a:off x="6070683" y="3410179"/>
              <a:ext cx="784195" cy="733569"/>
            </a:xfrm>
            <a:custGeom>
              <a:avLst/>
              <a:gdLst>
                <a:gd name="connsiteX0" fmla="*/ 0 w 702006"/>
                <a:gd name="connsiteY0" fmla="*/ 208226 h 656686"/>
                <a:gd name="connsiteX1" fmla="*/ 2062 w 702006"/>
                <a:gd name="connsiteY1" fmla="*/ 206685 h 656686"/>
                <a:gd name="connsiteX2" fmla="*/ 678703 w 702006"/>
                <a:gd name="connsiteY2" fmla="*/ 0 h 656686"/>
                <a:gd name="connsiteX3" fmla="*/ 702006 w 702006"/>
                <a:gd name="connsiteY3" fmla="*/ 1176 h 656686"/>
                <a:gd name="connsiteX4" fmla="*/ 677157 w 702006"/>
                <a:gd name="connsiteY4" fmla="*/ 97814 h 656686"/>
                <a:gd name="connsiteX5" fmla="*/ 377103 w 702006"/>
                <a:gd name="connsiteY5" fmla="*/ 593684 h 656686"/>
                <a:gd name="connsiteX6" fmla="*/ 307783 w 702006"/>
                <a:gd name="connsiteY6" fmla="*/ 656686 h 656686"/>
                <a:gd name="connsiteX7" fmla="*/ 291161 w 702006"/>
                <a:gd name="connsiteY7" fmla="*/ 641580 h 656686"/>
                <a:gd name="connsiteX8" fmla="*/ 98214 w 702006"/>
                <a:gd name="connsiteY8" fmla="*/ 511292 h 656686"/>
                <a:gd name="connsiteX9" fmla="*/ 75615 w 702006"/>
                <a:gd name="connsiteY9" fmla="*/ 500405 h 656686"/>
                <a:gd name="connsiteX10" fmla="*/ 62243 w 702006"/>
                <a:gd name="connsiteY10" fmla="*/ 412787 h 656686"/>
                <a:gd name="connsiteX11" fmla="*/ 32421 w 702006"/>
                <a:gd name="connsiteY11" fmla="*/ 296807 h 656686"/>
                <a:gd name="connsiteX12" fmla="*/ 0 w 702006"/>
                <a:gd name="connsiteY12" fmla="*/ 208226 h 65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2006" h="656686">
                  <a:moveTo>
                    <a:pt x="0" y="208226"/>
                  </a:moveTo>
                  <a:lnTo>
                    <a:pt x="2062" y="206685"/>
                  </a:lnTo>
                  <a:cubicBezTo>
                    <a:pt x="195213" y="76195"/>
                    <a:pt x="428060" y="0"/>
                    <a:pt x="678703" y="0"/>
                  </a:cubicBezTo>
                  <a:lnTo>
                    <a:pt x="702006" y="1176"/>
                  </a:lnTo>
                  <a:lnTo>
                    <a:pt x="677157" y="97814"/>
                  </a:lnTo>
                  <a:cubicBezTo>
                    <a:pt x="618224" y="287291"/>
                    <a:pt x="513982" y="456805"/>
                    <a:pt x="377103" y="593684"/>
                  </a:cubicBezTo>
                  <a:lnTo>
                    <a:pt x="307783" y="656686"/>
                  </a:lnTo>
                  <a:lnTo>
                    <a:pt x="291161" y="641580"/>
                  </a:lnTo>
                  <a:cubicBezTo>
                    <a:pt x="231392" y="592253"/>
                    <a:pt x="166805" y="548553"/>
                    <a:pt x="98214" y="511292"/>
                  </a:cubicBezTo>
                  <a:lnTo>
                    <a:pt x="75615" y="500405"/>
                  </a:lnTo>
                  <a:lnTo>
                    <a:pt x="62243" y="412787"/>
                  </a:lnTo>
                  <a:cubicBezTo>
                    <a:pt x="54182" y="373396"/>
                    <a:pt x="44208" y="334702"/>
                    <a:pt x="32421" y="296807"/>
                  </a:cubicBezTo>
                  <a:lnTo>
                    <a:pt x="0" y="208226"/>
                  </a:lnTo>
                  <a:close/>
                </a:path>
              </a:pathLst>
            </a:custGeom>
            <a:solidFill>
              <a:schemeClr val="tx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8" name="Freeform: Shape 112">
              <a:extLst>
                <a:ext uri="{FF2B5EF4-FFF2-40B4-BE49-F238E27FC236}">
                  <a16:creationId xmlns:a16="http://schemas.microsoft.com/office/drawing/2014/main" id="{CA1C3CB6-4616-44D8-0DAA-94714DB07482}"/>
                </a:ext>
              </a:extLst>
            </p:cNvPr>
            <p:cNvSpPr/>
            <p:nvPr/>
          </p:nvSpPr>
          <p:spPr>
            <a:xfrm rot="5400000">
              <a:off x="5337118" y="3410181"/>
              <a:ext cx="784192" cy="733568"/>
            </a:xfrm>
            <a:custGeom>
              <a:avLst/>
              <a:gdLst>
                <a:gd name="connsiteX0" fmla="*/ 0 w 702003"/>
                <a:gd name="connsiteY0" fmla="*/ 448458 h 656685"/>
                <a:gd name="connsiteX1" fmla="*/ 32419 w 702003"/>
                <a:gd name="connsiteY1" fmla="*/ 359881 h 656685"/>
                <a:gd name="connsiteX2" fmla="*/ 62241 w 702003"/>
                <a:gd name="connsiteY2" fmla="*/ 243901 h 656685"/>
                <a:gd name="connsiteX3" fmla="*/ 75613 w 702003"/>
                <a:gd name="connsiteY3" fmla="*/ 156281 h 656685"/>
                <a:gd name="connsiteX4" fmla="*/ 98212 w 702003"/>
                <a:gd name="connsiteY4" fmla="*/ 145395 h 656685"/>
                <a:gd name="connsiteX5" fmla="*/ 291159 w 702003"/>
                <a:gd name="connsiteY5" fmla="*/ 15107 h 656685"/>
                <a:gd name="connsiteX6" fmla="*/ 307781 w 702003"/>
                <a:gd name="connsiteY6" fmla="*/ 0 h 656685"/>
                <a:gd name="connsiteX7" fmla="*/ 377101 w 702003"/>
                <a:gd name="connsiteY7" fmla="*/ 63003 h 656685"/>
                <a:gd name="connsiteX8" fmla="*/ 677155 w 702003"/>
                <a:gd name="connsiteY8" fmla="*/ 558873 h 656685"/>
                <a:gd name="connsiteX9" fmla="*/ 702003 w 702003"/>
                <a:gd name="connsiteY9" fmla="*/ 655508 h 656685"/>
                <a:gd name="connsiteX10" fmla="*/ 678702 w 702003"/>
                <a:gd name="connsiteY10" fmla="*/ 656685 h 656685"/>
                <a:gd name="connsiteX11" fmla="*/ 2062 w 702003"/>
                <a:gd name="connsiteY11" fmla="*/ 450000 h 656685"/>
                <a:gd name="connsiteX12" fmla="*/ 0 w 702003"/>
                <a:gd name="connsiteY12" fmla="*/ 448458 h 65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2003" h="656685">
                  <a:moveTo>
                    <a:pt x="0" y="448458"/>
                  </a:moveTo>
                  <a:lnTo>
                    <a:pt x="32419" y="359881"/>
                  </a:lnTo>
                  <a:cubicBezTo>
                    <a:pt x="44206" y="321986"/>
                    <a:pt x="54180" y="283292"/>
                    <a:pt x="62241" y="243901"/>
                  </a:cubicBezTo>
                  <a:lnTo>
                    <a:pt x="75613" y="156281"/>
                  </a:lnTo>
                  <a:lnTo>
                    <a:pt x="98212" y="145395"/>
                  </a:lnTo>
                  <a:cubicBezTo>
                    <a:pt x="166803" y="108133"/>
                    <a:pt x="231390" y="64434"/>
                    <a:pt x="291159" y="15107"/>
                  </a:cubicBezTo>
                  <a:lnTo>
                    <a:pt x="307781" y="0"/>
                  </a:lnTo>
                  <a:lnTo>
                    <a:pt x="377101" y="63003"/>
                  </a:lnTo>
                  <a:cubicBezTo>
                    <a:pt x="513980" y="199881"/>
                    <a:pt x="618222" y="369396"/>
                    <a:pt x="677155" y="558873"/>
                  </a:cubicBezTo>
                  <a:lnTo>
                    <a:pt x="702003" y="655508"/>
                  </a:lnTo>
                  <a:lnTo>
                    <a:pt x="678702" y="656685"/>
                  </a:lnTo>
                  <a:cubicBezTo>
                    <a:pt x="428059" y="656685"/>
                    <a:pt x="195213" y="580490"/>
                    <a:pt x="2062" y="450000"/>
                  </a:cubicBezTo>
                  <a:lnTo>
                    <a:pt x="0" y="448458"/>
                  </a:lnTo>
                  <a:close/>
                </a:path>
              </a:pathLst>
            </a:custGeom>
            <a:solidFill>
              <a:schemeClr val="tx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39" name="Freeform: Shape 113">
              <a:extLst>
                <a:ext uri="{FF2B5EF4-FFF2-40B4-BE49-F238E27FC236}">
                  <a16:creationId xmlns:a16="http://schemas.microsoft.com/office/drawing/2014/main" id="{E3AD7933-2811-B883-8AD5-5AD8FCBD5DA6}"/>
                </a:ext>
              </a:extLst>
            </p:cNvPr>
            <p:cNvSpPr/>
            <p:nvPr/>
          </p:nvSpPr>
          <p:spPr>
            <a:xfrm rot="5400000">
              <a:off x="4287123" y="3686057"/>
              <a:ext cx="1647514" cy="1970239"/>
            </a:xfrm>
            <a:custGeom>
              <a:avLst/>
              <a:gdLst>
                <a:gd name="connsiteX0" fmla="*/ 0 w 1474843"/>
                <a:gd name="connsiteY0" fmla="*/ 1733827 h 1763744"/>
                <a:gd name="connsiteX1" fmla="*/ 41139 w 1474843"/>
                <a:gd name="connsiteY1" fmla="*/ 1688563 h 1763744"/>
                <a:gd name="connsiteX2" fmla="*/ 317492 w 1474843"/>
                <a:gd name="connsiteY2" fmla="*/ 918755 h 1763744"/>
                <a:gd name="connsiteX3" fmla="*/ 292905 w 1474843"/>
                <a:gd name="connsiteY3" fmla="*/ 674855 h 1763744"/>
                <a:gd name="connsiteX4" fmla="*/ 287931 w 1474843"/>
                <a:gd name="connsiteY4" fmla="*/ 655510 h 1763744"/>
                <a:gd name="connsiteX5" fmla="*/ 388367 w 1474843"/>
                <a:gd name="connsiteY5" fmla="*/ 650439 h 1763744"/>
                <a:gd name="connsiteX6" fmla="*/ 1328776 w 1474843"/>
                <a:gd name="connsiteY6" fmla="*/ 23333 h 1763744"/>
                <a:gd name="connsiteX7" fmla="*/ 1340016 w 1474843"/>
                <a:gd name="connsiteY7" fmla="*/ 0 h 1763744"/>
                <a:gd name="connsiteX8" fmla="*/ 1379738 w 1474843"/>
                <a:gd name="connsiteY8" fmla="*/ 82460 h 1763744"/>
                <a:gd name="connsiteX9" fmla="*/ 1474843 w 1474843"/>
                <a:gd name="connsiteY9" fmla="*/ 553530 h 1763744"/>
                <a:gd name="connsiteX10" fmla="*/ 264629 w 1474843"/>
                <a:gd name="connsiteY10" fmla="*/ 1763744 h 1763744"/>
                <a:gd name="connsiteX11" fmla="*/ 20729 w 1474843"/>
                <a:gd name="connsiteY11" fmla="*/ 1739157 h 1763744"/>
                <a:gd name="connsiteX12" fmla="*/ 0 w 1474843"/>
                <a:gd name="connsiteY12" fmla="*/ 1733827 h 1763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4843" h="1763744">
                  <a:moveTo>
                    <a:pt x="0" y="1733827"/>
                  </a:moveTo>
                  <a:lnTo>
                    <a:pt x="41139" y="1688563"/>
                  </a:lnTo>
                  <a:cubicBezTo>
                    <a:pt x="213783" y="1479366"/>
                    <a:pt x="317492" y="1211172"/>
                    <a:pt x="317492" y="918755"/>
                  </a:cubicBezTo>
                  <a:cubicBezTo>
                    <a:pt x="317492" y="835207"/>
                    <a:pt x="309026" y="753637"/>
                    <a:pt x="292905" y="674855"/>
                  </a:cubicBezTo>
                  <a:lnTo>
                    <a:pt x="287931" y="655510"/>
                  </a:lnTo>
                  <a:lnTo>
                    <a:pt x="388367" y="650439"/>
                  </a:lnTo>
                  <a:cubicBezTo>
                    <a:pt x="795205" y="609122"/>
                    <a:pt x="1142470" y="366291"/>
                    <a:pt x="1328776" y="23333"/>
                  </a:cubicBezTo>
                  <a:lnTo>
                    <a:pt x="1340016" y="0"/>
                  </a:lnTo>
                  <a:lnTo>
                    <a:pt x="1379738" y="82460"/>
                  </a:lnTo>
                  <a:cubicBezTo>
                    <a:pt x="1440979" y="227248"/>
                    <a:pt x="1474843" y="386434"/>
                    <a:pt x="1474843" y="553530"/>
                  </a:cubicBezTo>
                  <a:cubicBezTo>
                    <a:pt x="1474843" y="1221913"/>
                    <a:pt x="933012" y="1763744"/>
                    <a:pt x="264629" y="1763744"/>
                  </a:cubicBezTo>
                  <a:cubicBezTo>
                    <a:pt x="181081" y="1763744"/>
                    <a:pt x="99511" y="1755278"/>
                    <a:pt x="20729" y="1739157"/>
                  </a:cubicBezTo>
                  <a:lnTo>
                    <a:pt x="0" y="1733827"/>
                  </a:lnTo>
                  <a:close/>
                </a:path>
              </a:pathLst>
            </a:custGeom>
            <a:solidFill>
              <a:srgbClr val="F7F7F7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40" name="Freeform: Shape 114">
              <a:extLst>
                <a:ext uri="{FF2B5EF4-FFF2-40B4-BE49-F238E27FC236}">
                  <a16:creationId xmlns:a16="http://schemas.microsoft.com/office/drawing/2014/main" id="{72D733D4-78B3-7FA8-F9B1-05BF0E13A239}"/>
                </a:ext>
              </a:extLst>
            </p:cNvPr>
            <p:cNvSpPr/>
            <p:nvPr/>
          </p:nvSpPr>
          <p:spPr>
            <a:xfrm rot="5400000">
              <a:off x="6257361" y="3686060"/>
              <a:ext cx="1647512" cy="1970235"/>
            </a:xfrm>
            <a:custGeom>
              <a:avLst/>
              <a:gdLst>
                <a:gd name="connsiteX0" fmla="*/ 0 w 1474841"/>
                <a:gd name="connsiteY0" fmla="*/ 29918 h 1763740"/>
                <a:gd name="connsiteX1" fmla="*/ 20730 w 1474841"/>
                <a:gd name="connsiteY1" fmla="*/ 24588 h 1763740"/>
                <a:gd name="connsiteX2" fmla="*/ 264630 w 1474841"/>
                <a:gd name="connsiteY2" fmla="*/ 0 h 1763740"/>
                <a:gd name="connsiteX3" fmla="*/ 1474841 w 1474841"/>
                <a:gd name="connsiteY3" fmla="*/ 1210214 h 1763740"/>
                <a:gd name="connsiteX4" fmla="*/ 1379737 w 1474841"/>
                <a:gd name="connsiteY4" fmla="*/ 1681283 h 1763740"/>
                <a:gd name="connsiteX5" fmla="*/ 1340015 w 1474841"/>
                <a:gd name="connsiteY5" fmla="*/ 1763740 h 1763740"/>
                <a:gd name="connsiteX6" fmla="*/ 1328776 w 1474841"/>
                <a:gd name="connsiteY6" fmla="*/ 1740410 h 1763740"/>
                <a:gd name="connsiteX7" fmla="*/ 388365 w 1474841"/>
                <a:gd name="connsiteY7" fmla="*/ 1113304 h 1763740"/>
                <a:gd name="connsiteX8" fmla="*/ 287931 w 1474841"/>
                <a:gd name="connsiteY8" fmla="*/ 1108232 h 1763740"/>
                <a:gd name="connsiteX9" fmla="*/ 292904 w 1474841"/>
                <a:gd name="connsiteY9" fmla="*/ 1088890 h 1763740"/>
                <a:gd name="connsiteX10" fmla="*/ 317491 w 1474841"/>
                <a:gd name="connsiteY10" fmla="*/ 844990 h 1763740"/>
                <a:gd name="connsiteX11" fmla="*/ 41139 w 1474841"/>
                <a:gd name="connsiteY11" fmla="*/ 75182 h 1763740"/>
                <a:gd name="connsiteX12" fmla="*/ 0 w 1474841"/>
                <a:gd name="connsiteY12" fmla="*/ 29918 h 176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4841" h="1763740">
                  <a:moveTo>
                    <a:pt x="0" y="29918"/>
                  </a:moveTo>
                  <a:lnTo>
                    <a:pt x="20730" y="24588"/>
                  </a:lnTo>
                  <a:cubicBezTo>
                    <a:pt x="99512" y="8467"/>
                    <a:pt x="181082" y="0"/>
                    <a:pt x="264630" y="0"/>
                  </a:cubicBezTo>
                  <a:cubicBezTo>
                    <a:pt x="933012" y="0"/>
                    <a:pt x="1474841" y="541832"/>
                    <a:pt x="1474841" y="1210214"/>
                  </a:cubicBezTo>
                  <a:cubicBezTo>
                    <a:pt x="1474841" y="1377309"/>
                    <a:pt x="1440977" y="1536495"/>
                    <a:pt x="1379737" y="1681283"/>
                  </a:cubicBezTo>
                  <a:lnTo>
                    <a:pt x="1340015" y="1763740"/>
                  </a:lnTo>
                  <a:lnTo>
                    <a:pt x="1328776" y="1740410"/>
                  </a:lnTo>
                  <a:cubicBezTo>
                    <a:pt x="1142470" y="1397451"/>
                    <a:pt x="795204" y="1154621"/>
                    <a:pt x="388365" y="1113304"/>
                  </a:cubicBezTo>
                  <a:lnTo>
                    <a:pt x="287931" y="1108232"/>
                  </a:lnTo>
                  <a:lnTo>
                    <a:pt x="292904" y="1088890"/>
                  </a:lnTo>
                  <a:cubicBezTo>
                    <a:pt x="309025" y="1010108"/>
                    <a:pt x="317491" y="928538"/>
                    <a:pt x="317491" y="844990"/>
                  </a:cubicBezTo>
                  <a:cubicBezTo>
                    <a:pt x="317491" y="552573"/>
                    <a:pt x="213782" y="284378"/>
                    <a:pt x="41139" y="75182"/>
                  </a:cubicBezTo>
                  <a:lnTo>
                    <a:pt x="0" y="29918"/>
                  </a:lnTo>
                  <a:close/>
                </a:path>
              </a:pathLst>
            </a:custGeom>
            <a:solidFill>
              <a:srgbClr val="F7F7F7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2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</a:endParaRPr>
            </a:p>
          </p:txBody>
        </p:sp>
        <p:sp>
          <p:nvSpPr>
            <p:cNvPr id="41" name="Oval 115">
              <a:extLst>
                <a:ext uri="{FF2B5EF4-FFF2-40B4-BE49-F238E27FC236}">
                  <a16:creationId xmlns:a16="http://schemas.microsoft.com/office/drawing/2014/main" id="{E74AD78E-05BF-EACF-46AD-2B122AEBC874}"/>
                </a:ext>
              </a:extLst>
            </p:cNvPr>
            <p:cNvSpPr/>
            <p:nvPr/>
          </p:nvSpPr>
          <p:spPr>
            <a:xfrm>
              <a:off x="5137265" y="2240382"/>
              <a:ext cx="1892044" cy="1809515"/>
            </a:xfrm>
            <a:prstGeom prst="ellipse">
              <a:avLst/>
            </a:prstGeom>
            <a:solidFill>
              <a:schemeClr val="bg1"/>
            </a:solidFill>
            <a:ln w="57150" cap="flat" cmpd="sng" algn="ctr">
              <a:solidFill>
                <a:srgbClr val="F0EEE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H" sz="1200" b="1" i="0" strike="noStrike" kern="0" spc="0" normalizeH="0" baseline="0">
                  <a:ln>
                    <a:noFill/>
                  </a:ln>
                  <a:effectLst/>
                  <a:uLnTx/>
                  <a:uFillTx/>
                  <a:latin typeface="Manrope ExtraBold" pitchFamily="2" charset="0"/>
                </a:rPr>
                <a:t>Centre de compétences de politique locale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1557B766-CE50-AB5D-F931-E33732E53001}"/>
                </a:ext>
              </a:extLst>
            </p:cNvPr>
            <p:cNvSpPr txBox="1"/>
            <p:nvPr/>
          </p:nvSpPr>
          <p:spPr>
            <a:xfrm>
              <a:off x="5401728" y="1142339"/>
              <a:ext cx="1346765" cy="2576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200" b="1">
                  <a:latin typeface="Manrope ExtraBold" pitchFamily="2" charset="0"/>
                </a:rPr>
                <a:t>Action politique</a:t>
              </a:r>
            </a:p>
          </p:txBody>
        </p:sp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9F548C58-8EC8-026A-6E4F-378A11E17B74}"/>
                </a:ext>
              </a:extLst>
            </p:cNvPr>
            <p:cNvSpPr txBox="1"/>
            <p:nvPr/>
          </p:nvSpPr>
          <p:spPr>
            <a:xfrm>
              <a:off x="7460607" y="2455370"/>
              <a:ext cx="927730" cy="6012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CH" sz="1200" b="1">
                  <a:latin typeface="Manrope ExtraBold" pitchFamily="2" charset="0"/>
                </a:rPr>
                <a:t>Conseil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&amp;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Formation</a:t>
              </a:r>
            </a:p>
          </p:txBody>
        </p:sp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EDF17E73-EB64-AB32-EE6B-4F4234ACC7A8}"/>
                </a:ext>
              </a:extLst>
            </p:cNvPr>
            <p:cNvSpPr txBox="1"/>
            <p:nvPr/>
          </p:nvSpPr>
          <p:spPr>
            <a:xfrm>
              <a:off x="6835176" y="4427440"/>
              <a:ext cx="812187" cy="6012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CH" sz="1200" b="1">
                  <a:latin typeface="Manrope ExtraBold" pitchFamily="2" charset="0"/>
                </a:rPr>
                <a:t>Projets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&amp;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Mandats</a:t>
              </a: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4C2DD058-9D9A-46B6-DABD-65CDDD727B6D}"/>
                </a:ext>
              </a:extLst>
            </p:cNvPr>
            <p:cNvSpPr txBox="1"/>
            <p:nvPr/>
          </p:nvSpPr>
          <p:spPr>
            <a:xfrm>
              <a:off x="4433277" y="4427440"/>
              <a:ext cx="933892" cy="6012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CH" sz="1200" b="1">
                  <a:latin typeface="Manrope ExtraBold" pitchFamily="2" charset="0"/>
                </a:rPr>
                <a:t>Animation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 du </a:t>
              </a:r>
            </a:p>
            <a:p>
              <a:pPr algn="ctr"/>
              <a:r>
                <a:rPr lang="fr-CH" sz="1200" b="1">
                  <a:latin typeface="Manrope ExtraBold" pitchFamily="2" charset="0"/>
                </a:rPr>
                <a:t>réseau</a:t>
              </a:r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9EF1F9BF-FA9F-A35D-2F81-2AB98BA3BC11}"/>
                </a:ext>
              </a:extLst>
            </p:cNvPr>
            <p:cNvSpPr txBox="1"/>
            <p:nvPr/>
          </p:nvSpPr>
          <p:spPr>
            <a:xfrm>
              <a:off x="3669740" y="2418383"/>
              <a:ext cx="1339861" cy="5969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CH" sz="1050" b="1">
                  <a:latin typeface="Manrope ExtraBold" pitchFamily="2" charset="0"/>
                </a:rPr>
                <a:t>Information</a:t>
              </a:r>
            </a:p>
            <a:p>
              <a:pPr algn="ctr"/>
              <a:r>
                <a:rPr lang="fr-CH" sz="1050" b="1">
                  <a:latin typeface="Manrope ExtraBold" pitchFamily="2" charset="0"/>
                </a:rPr>
                <a:t>&amp;</a:t>
              </a:r>
            </a:p>
            <a:p>
              <a:pPr algn="ctr"/>
              <a:r>
                <a:rPr lang="fr-CH" sz="1050" b="1">
                  <a:latin typeface="Manrope ExtraBold" pitchFamily="2" charset="0"/>
                </a:rPr>
                <a:t>Communication</a:t>
              </a:r>
            </a:p>
          </p:txBody>
        </p:sp>
      </p:grpSp>
      <p:pic>
        <p:nvPicPr>
          <p:cNvPr id="2" name="Image 1" descr="Une image contenant Police, Graphique, capture d’écran, graphisme&#10;&#10;Le contenu généré par l’IA peut être incorrect.">
            <a:extLst>
              <a:ext uri="{FF2B5EF4-FFF2-40B4-BE49-F238E27FC236}">
                <a16:creationId xmlns:a16="http://schemas.microsoft.com/office/drawing/2014/main" id="{43F03896-4436-85F5-D941-CEA20B21E9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897" y="4817942"/>
            <a:ext cx="583029" cy="476140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567E1066-74D4-9A2B-521A-2EC72F1EE71D}"/>
              </a:ext>
            </a:extLst>
          </p:cNvPr>
          <p:cNvCxnSpPr>
            <a:cxnSpLocks/>
            <a:stCxn id="31" idx="4"/>
            <a:endCxn id="2" idx="1"/>
          </p:cNvCxnSpPr>
          <p:nvPr/>
        </p:nvCxnSpPr>
        <p:spPr>
          <a:xfrm>
            <a:off x="8259994" y="4217209"/>
            <a:ext cx="990903" cy="83880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5E880E59-507E-D839-FBDD-E28EEFDB76A9}"/>
              </a:ext>
            </a:extLst>
          </p:cNvPr>
          <p:cNvSpPr txBox="1"/>
          <p:nvPr/>
        </p:nvSpPr>
        <p:spPr>
          <a:xfrm>
            <a:off x="8766123" y="5301888"/>
            <a:ext cx="1552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H" sz="1200" dirty="0">
                <a:latin typeface="Manrope" pitchFamily="2" charset="0"/>
              </a:rPr>
              <a:t>Centre de compétences numériques pour les communes</a:t>
            </a:r>
          </a:p>
        </p:txBody>
      </p:sp>
    </p:spTree>
    <p:extLst>
      <p:ext uri="{BB962C8B-B14F-4D97-AF65-F5344CB8AC3E}">
        <p14:creationId xmlns:p14="http://schemas.microsoft.com/office/powerpoint/2010/main" val="2629882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0C6A0-5ABB-C8B9-4758-B5BE1E9E18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CA4FAB84-836E-7950-D133-38273E56C5C9}"/>
              </a:ext>
            </a:extLst>
          </p:cNvPr>
          <p:cNvSpPr/>
          <p:nvPr/>
        </p:nvSpPr>
        <p:spPr>
          <a:xfrm>
            <a:off x="0" y="59921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011B90A-D37C-23FC-9BED-EAEC7EC25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590" y="-1"/>
            <a:ext cx="10538821" cy="6894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403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B4412-B6D5-E000-F890-4AFAAE9D0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706C09D-773E-0B15-570F-FD3ECF3C90E5}"/>
              </a:ext>
            </a:extLst>
          </p:cNvPr>
          <p:cNvSpPr/>
          <p:nvPr/>
        </p:nvSpPr>
        <p:spPr>
          <a:xfrm>
            <a:off x="0" y="23649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CADFBAB-7DB4-FE3F-E1ED-8A2D82206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700" y="0"/>
            <a:ext cx="9372600" cy="683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48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4B2F4-BF80-0A45-0653-063C44826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92AC703-4761-B59D-7164-363F3F1B9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54856" y="0"/>
            <a:ext cx="13546856" cy="6858000"/>
          </a:xfrm>
          <a:prstGeom prst="rect">
            <a:avLst/>
          </a:prstGeom>
        </p:spPr>
      </p:pic>
      <p:sp>
        <p:nvSpPr>
          <p:cNvPr id="24" name="Titre 23">
            <a:extLst>
              <a:ext uri="{FF2B5EF4-FFF2-40B4-BE49-F238E27FC236}">
                <a16:creationId xmlns:a16="http://schemas.microsoft.com/office/drawing/2014/main" id="{72B81A38-29B6-BBAA-CDF3-371D3F078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L’assistant virtuel de l’ACF</a:t>
            </a:r>
          </a:p>
        </p:txBody>
      </p:sp>
    </p:spTree>
    <p:extLst>
      <p:ext uri="{BB962C8B-B14F-4D97-AF65-F5344CB8AC3E}">
        <p14:creationId xmlns:p14="http://schemas.microsoft.com/office/powerpoint/2010/main" val="2387803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09939-CB43-022D-E198-41A1818A9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8C8122-2596-CB8E-FD40-7CE0EE4B568B}"/>
              </a:ext>
            </a:extLst>
          </p:cNvPr>
          <p:cNvSpPr/>
          <p:nvPr/>
        </p:nvSpPr>
        <p:spPr>
          <a:xfrm>
            <a:off x="0" y="-4271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CB14345-8F5C-CD16-A144-07640F53A1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960"/>
            <a:ext cx="7848600" cy="683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130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0B224-1B7E-1F11-E256-1F99FC038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AE90597-3343-85D8-648C-650D514D5747}"/>
              </a:ext>
            </a:extLst>
          </p:cNvPr>
          <p:cNvSpPr/>
          <p:nvPr/>
        </p:nvSpPr>
        <p:spPr>
          <a:xfrm>
            <a:off x="0" y="-4271"/>
            <a:ext cx="12192000" cy="683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F73C438-07C8-E489-95AF-E4599DF2C8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803285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8A051BF-4BCB-1902-FD6F-C28ABF42B051}"/>
              </a:ext>
            </a:extLst>
          </p:cNvPr>
          <p:cNvSpPr txBox="1"/>
          <p:nvPr/>
        </p:nvSpPr>
        <p:spPr>
          <a:xfrm>
            <a:off x="8934450" y="1013743"/>
            <a:ext cx="2933700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CH" sz="1400" i="1" dirty="0">
                <a:latin typeface="Manrope" pitchFamily="2" charset="0"/>
              </a:rPr>
              <a:t>Réception d’un lien de connexion (7 jours sur le même ordinateur et même navigateur)</a:t>
            </a:r>
          </a:p>
          <a:p>
            <a:r>
              <a:rPr lang="fr-CH" sz="1400" i="1" dirty="0">
                <a:latin typeface="Manrope" pitchFamily="2" charset="0"/>
              </a:rPr>
              <a:t>Uniquement avec une adresse e-mail communale ou d’association de communes</a:t>
            </a:r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561F9E37-EA3A-172E-631A-CAF7F19ED118}"/>
              </a:ext>
            </a:extLst>
          </p:cNvPr>
          <p:cNvSpPr/>
          <p:nvPr/>
        </p:nvSpPr>
        <p:spPr>
          <a:xfrm rot="13283915">
            <a:off x="9203108" y="370552"/>
            <a:ext cx="1127516" cy="51435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9493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6C0DFC-2019-EABD-B9B9-2D6B6AC22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507D76-DE9C-AA00-D8FE-AA27693F9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31" y="430220"/>
            <a:ext cx="11227599" cy="691866"/>
          </a:xfrm>
        </p:spPr>
        <p:txBody>
          <a:bodyPr>
            <a:noAutofit/>
          </a:bodyPr>
          <a:lstStyle/>
          <a:p>
            <a:r>
              <a:rPr lang="fr-CH" dirty="0">
                <a:cs typeface="Arial" panose="020B0604020202020204" pitchFamily="34" charset="0"/>
              </a:rPr>
              <a:t>Formations à venir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7EE4FFB-82FD-1F8D-2E71-50B36D7320B5}"/>
              </a:ext>
            </a:extLst>
          </p:cNvPr>
          <p:cNvSpPr txBox="1"/>
          <p:nvPr/>
        </p:nvSpPr>
        <p:spPr>
          <a:xfrm>
            <a:off x="429131" y="1158322"/>
            <a:ext cx="11121460" cy="32855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500"/>
              </a:spcAft>
              <a:buNone/>
            </a:pPr>
            <a:r>
              <a:rPr lang="fr-CH" sz="1400" b="0" i="0" dirty="0">
                <a:solidFill>
                  <a:srgbClr val="000000"/>
                </a:solidFill>
                <a:effectLst/>
                <a:latin typeface="Manrope" pitchFamily="2" charset="0"/>
              </a:rPr>
              <a:t>L’ACF, en collaboration avec la Conférence des Préfets, le Service des communes et les services </a:t>
            </a:r>
            <a:r>
              <a:rPr lang="fr-CH" sz="1400" b="0" i="0" dirty="0">
                <a:solidFill>
                  <a:srgbClr val="242424"/>
                </a:solidFill>
                <a:effectLst/>
                <a:latin typeface="Manrope" pitchFamily="2" charset="0"/>
              </a:rPr>
              <a:t>de l’administration cantonale</a:t>
            </a:r>
            <a:r>
              <a:rPr lang="fr-CH" sz="1400" b="0" i="0" dirty="0">
                <a:solidFill>
                  <a:srgbClr val="000000"/>
                </a:solidFill>
                <a:effectLst/>
                <a:latin typeface="Manrope" pitchFamily="2" charset="0"/>
              </a:rPr>
              <a:t>, organise des formations pour les élus-es communaux.</a:t>
            </a: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algn="l">
              <a:spcAft>
                <a:spcPts val="500"/>
              </a:spcAft>
              <a:buNone/>
            </a:pPr>
            <a:endParaRPr lang="fr-CH" sz="1400" b="0" i="0" dirty="0">
              <a:solidFill>
                <a:srgbClr val="242424"/>
              </a:solidFill>
              <a:effectLst/>
              <a:latin typeface="Manrope" pitchFamily="2" charset="0"/>
            </a:endParaRPr>
          </a:p>
          <a:p>
            <a:pPr algn="ctr">
              <a:spcAft>
                <a:spcPts val="500"/>
              </a:spcAft>
            </a:pPr>
            <a:r>
              <a:rPr lang="fr-CH" sz="1600" dirty="0"/>
              <a:t>👉 </a:t>
            </a:r>
            <a:r>
              <a:rPr lang="fr-CH" sz="1600" b="1" dirty="0">
                <a:solidFill>
                  <a:schemeClr val="accent1"/>
                </a:solidFill>
                <a:latin typeface="Manrope" pitchFamily="2" charset="0"/>
              </a:rPr>
              <a:t>https://acf-fgv.ch/formations/</a:t>
            </a:r>
            <a:endParaRPr lang="fr-CH" sz="1600" b="1" i="0" dirty="0">
              <a:solidFill>
                <a:schemeClr val="accent1"/>
              </a:solidFill>
              <a:effectLst/>
              <a:latin typeface="Manrope" pitchFamily="2" charset="0"/>
            </a:endParaRPr>
          </a:p>
          <a:p>
            <a:pPr algn="l">
              <a:spcAft>
                <a:spcPts val="500"/>
              </a:spcAft>
              <a:buNone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CH" sz="1400" b="1" dirty="0">
                <a:solidFill>
                  <a:srgbClr val="242424"/>
                </a:solidFill>
                <a:latin typeface="Manrope" pitchFamily="2" charset="0"/>
              </a:rPr>
              <a:t>Mai &amp; Juin </a:t>
            </a:r>
            <a:r>
              <a:rPr lang="fr-CH" sz="1400" dirty="0">
                <a:solidFill>
                  <a:srgbClr val="242424"/>
                </a:solidFill>
                <a:latin typeface="Manrope" pitchFamily="2" charset="0"/>
              </a:rPr>
              <a:t>: Introduction pour les Syndics &amp; Présidents, introduction pour les Conseillers communaux, introduction Conseillers généraux</a:t>
            </a: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CH" sz="1400" b="1" dirty="0">
                <a:solidFill>
                  <a:srgbClr val="242424"/>
                </a:solidFill>
                <a:latin typeface="Manrope" pitchFamily="2" charset="0"/>
              </a:rPr>
              <a:t>Fin août – début octobre </a:t>
            </a:r>
            <a:r>
              <a:rPr lang="fr-CH" sz="1400" dirty="0">
                <a:solidFill>
                  <a:srgbClr val="242424"/>
                </a:solidFill>
                <a:latin typeface="Manrope" pitchFamily="2" charset="0"/>
              </a:rPr>
              <a:t>:</a:t>
            </a:r>
          </a:p>
          <a:p>
            <a:pPr algn="l">
              <a:spcAft>
                <a:spcPts val="500"/>
              </a:spcAft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  <a:p>
            <a:pPr marL="285750" indent="-285750" algn="l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fr-CH" sz="1400" dirty="0">
              <a:solidFill>
                <a:srgbClr val="242424"/>
              </a:solidFill>
              <a:latin typeface="Manrope" pitchFamily="2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11F6812-3820-601D-CE3D-7832820E95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5640" y="2972410"/>
            <a:ext cx="5416661" cy="328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0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4zS_PinUqzqCUZ9aNL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Np4XZlUkmv42PBCZla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5BIxwxAEefCy4UnCA5_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 de la présentatio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23963FBF618641AED86739A3AEAB7E" ma:contentTypeVersion="20" ma:contentTypeDescription="Crée un document." ma:contentTypeScope="" ma:versionID="6196acce77552a6ad792e7fd4c8790b6">
  <xsd:schema xmlns:xsd="http://www.w3.org/2001/XMLSchema" xmlns:xs="http://www.w3.org/2001/XMLSchema" xmlns:p="http://schemas.microsoft.com/office/2006/metadata/properties" xmlns:ns2="8b4d73ce-a43f-4a6b-b590-2779b08ddbdc" xmlns:ns3="c3a6a09f-93f6-4cf0-8bda-9cbec7cb5d0e" targetNamespace="http://schemas.microsoft.com/office/2006/metadata/properties" ma:root="true" ma:fieldsID="56d1fc31095dfd80e1bab03b17e87d17" ns2:_="" ns3:_="">
    <xsd:import namespace="8b4d73ce-a43f-4a6b-b590-2779b08ddbdc"/>
    <xsd:import namespace="c3a6a09f-93f6-4cf0-8bda-9cbec7cb5d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4d73ce-a43f-4a6b-b590-2779b08ddb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aa35d0ec-8783-495b-88e1-95c45ca37f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6" nillable="true" ma:displayName="État de validation" ma:internalName="_x00c9_tat_x0020_de_x0020_validation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a6a09f-93f6-4cf0-8bda-9cbec7cb5d0e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3ba06c3-6970-4bed-8693-d4bd14b33e47}" ma:internalName="TaxCatchAll" ma:showField="CatchAllData" ma:web="c3a6a09f-93f6-4cf0-8bda-9cbec7cb5d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4d73ce-a43f-4a6b-b590-2779b08ddbdc">
      <Terms xmlns="http://schemas.microsoft.com/office/infopath/2007/PartnerControls"/>
    </lcf76f155ced4ddcb4097134ff3c332f>
    <TaxCatchAll xmlns="c3a6a09f-93f6-4cf0-8bda-9cbec7cb5d0e" xsi:nil="true"/>
    <_Flow_SignoffStatus xmlns="8b4d73ce-a43f-4a6b-b590-2779b08ddbdc" xsi:nil="true"/>
  </documentManagement>
</p:properties>
</file>

<file path=customXml/itemProps1.xml><?xml version="1.0" encoding="utf-8"?>
<ds:datastoreItem xmlns:ds="http://schemas.openxmlformats.org/officeDocument/2006/customXml" ds:itemID="{EA38E079-010A-4E81-98BE-45A1E3A7797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456AC5-BB49-45EB-8E19-7A05F95A31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4d73ce-a43f-4a6b-b590-2779b08ddbdc"/>
    <ds:schemaRef ds:uri="c3a6a09f-93f6-4cf0-8bda-9cbec7cb5d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C9CC14-D7A0-48B7-9ED6-B8130AB9C049}">
  <ds:schemaRefs>
    <ds:schemaRef ds:uri="3ad9855f-af3b-409c-9fc4-220aff857c87"/>
    <ds:schemaRef ds:uri="464a0528-7d27-4ce0-b321-d071f68ba351"/>
    <ds:schemaRef ds:uri="8b4d73ce-a43f-4a6b-b590-2779b08ddbdc"/>
    <ds:schemaRef ds:uri="c3a6a09f-93f6-4cf0-8bda-9cbec7cb5d0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</Words>
  <Application>Microsoft Office PowerPoint</Application>
  <PresentationFormat>Grand écran</PresentationFormat>
  <Paragraphs>54</Paragraphs>
  <Slides>10</Slides>
  <Notes>1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0</vt:i4>
      </vt:variant>
    </vt:vector>
  </HeadingPairs>
  <TitlesOfParts>
    <vt:vector size="16" baseType="lpstr">
      <vt:lpstr>Manrope</vt:lpstr>
      <vt:lpstr>Arial</vt:lpstr>
      <vt:lpstr>Manrope ExtraBold</vt:lpstr>
      <vt:lpstr>Calibri</vt:lpstr>
      <vt:lpstr>Thème Office</vt:lpstr>
      <vt:lpstr>Titre de la présentation</vt:lpstr>
      <vt:lpstr>Présentation PowerPoint</vt:lpstr>
      <vt:lpstr>L’ACF agit dès les travaux préparatoires jusqu’à ce que chaque commune passe à la mise en œuvre</vt:lpstr>
      <vt:lpstr>Nos 5 domaines d’activités</vt:lpstr>
      <vt:lpstr>Présentation PowerPoint</vt:lpstr>
      <vt:lpstr>Présentation PowerPoint</vt:lpstr>
      <vt:lpstr>L’assistant virtuel de l’ACF</vt:lpstr>
      <vt:lpstr>Présentation PowerPoint</vt:lpstr>
      <vt:lpstr>Présentation PowerPoint</vt:lpstr>
      <vt:lpstr>Formations à venir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CF-FGV</dc:creator>
  <cp:lastModifiedBy>Micheline Guerry-Berchier</cp:lastModifiedBy>
  <cp:revision>3</cp:revision>
  <cp:lastPrinted>2024-02-22T09:37:38Z</cp:lastPrinted>
  <dcterms:created xsi:type="dcterms:W3CDTF">2022-04-26T11:23:59Z</dcterms:created>
  <dcterms:modified xsi:type="dcterms:W3CDTF">2026-05-11T13:5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23963FBF618641AED86739A3AEAB7E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